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50" r:id="rId4"/>
  </p:sldMasterIdLst>
  <p:notesMasterIdLst>
    <p:notesMasterId r:id="rId15"/>
  </p:notesMasterIdLst>
  <p:sldIdLst>
    <p:sldId id="278" r:id="rId5"/>
    <p:sldId id="279" r:id="rId6"/>
    <p:sldId id="292" r:id="rId7"/>
    <p:sldId id="303" r:id="rId8"/>
    <p:sldId id="300" r:id="rId9"/>
    <p:sldId id="301" r:id="rId10"/>
    <p:sldId id="296" r:id="rId11"/>
    <p:sldId id="290" r:id="rId12"/>
    <p:sldId id="302" r:id="rId13"/>
    <p:sldId id="294" r:id="rId14"/>
  </p:sldIdLst>
  <p:sldSz cx="12192000" cy="6858000"/>
  <p:notesSz cx="13716000" cy="24384000"/>
  <p:custDataLst>
    <p:tags r:id="rId16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B24398E9-8074-405C-B572-977C0EA718E2}">
          <p14:sldIdLst>
            <p14:sldId id="278"/>
            <p14:sldId id="279"/>
            <p14:sldId id="292"/>
            <p14:sldId id="303"/>
            <p14:sldId id="300"/>
            <p14:sldId id="301"/>
            <p14:sldId id="296"/>
            <p14:sldId id="290"/>
            <p14:sldId id="302"/>
            <p14:sldId id="294"/>
          </p14:sldIdLst>
        </p14:section>
      </p14:sectionLst>
    </p:ext>
    <p:ext uri="{EFAFB233-063F-42B5-8137-9DF3F51BA10A}">
      <p15:sldGuideLst xmlns:p15="http://schemas.microsoft.com/office/powerpoint/2012/main">
        <p15:guide id="1" userDrawn="1">
          <p15:clr>
            <a:srgbClr val="A4A3A4"/>
          </p15:clr>
        </p15:guide>
        <p15:guide id="2" pos="456" userDrawn="1">
          <p15:clr>
            <a:srgbClr val="A4A3A4"/>
          </p15:clr>
        </p15:guide>
        <p15:guide id="3" orient="horz" pos="2616" userDrawn="1">
          <p15:clr>
            <a:srgbClr val="A4A3A4"/>
          </p15:clr>
        </p15:guide>
        <p15:guide id="4" orient="horz" pos="3264" userDrawn="1">
          <p15:clr>
            <a:srgbClr val="A4A3A4"/>
          </p15:clr>
        </p15:guide>
        <p15:guide id="5" pos="6912" userDrawn="1">
          <p15:clr>
            <a:srgbClr val="A4A3A4"/>
          </p15:clr>
        </p15:guide>
        <p15:guide id="6" orient="horz" pos="2136" userDrawn="1">
          <p15:clr>
            <a:srgbClr val="A4A3A4"/>
          </p15:clr>
        </p15:guide>
        <p15:guide id="7" orient="horz" pos="4008" userDrawn="1">
          <p15:clr>
            <a:srgbClr val="A4A3A4"/>
          </p15:clr>
        </p15:guide>
        <p15:guide id="8" orient="horz" pos="1152" userDrawn="1">
          <p15:clr>
            <a:srgbClr val="A4A3A4"/>
          </p15:clr>
        </p15:guide>
        <p15:guide id="9" orient="horz" pos="2352" userDrawn="1">
          <p15:clr>
            <a:srgbClr val="A4A3A4"/>
          </p15:clr>
        </p15:guide>
        <p15:guide id="10" orient="horz" pos="1512" userDrawn="1">
          <p15:clr>
            <a:srgbClr val="A4A3A4"/>
          </p15:clr>
        </p15:guide>
        <p15:guide id="11" pos="7680" userDrawn="1">
          <p15:clr>
            <a:srgbClr val="A4A3A4"/>
          </p15:clr>
        </p15:guide>
        <p15:guide id="12" pos="6696" userDrawn="1">
          <p15:clr>
            <a:srgbClr val="A4A3A4"/>
          </p15:clr>
        </p15:guide>
        <p15:guide id="13" pos="1008" userDrawn="1">
          <p15:clr>
            <a:srgbClr val="A4A3A4"/>
          </p15:clr>
        </p15:guide>
        <p15:guide id="14" pos="1584" userDrawn="1">
          <p15:clr>
            <a:srgbClr val="A4A3A4"/>
          </p15:clr>
        </p15:guide>
        <p15:guide id="15" pos="2136" userDrawn="1">
          <p15:clr>
            <a:srgbClr val="A4A3A4"/>
          </p15:clr>
        </p15:guide>
        <p15:guide id="16" pos="2760" userDrawn="1">
          <p15:clr>
            <a:srgbClr val="A4A3A4"/>
          </p15:clr>
        </p15:guide>
        <p15:guide id="17" pos="3288" userDrawn="1">
          <p15:clr>
            <a:srgbClr val="A4A3A4"/>
          </p15:clr>
        </p15:guide>
        <p15:guide id="18" pos="4032" userDrawn="1">
          <p15:clr>
            <a:srgbClr val="A4A3A4"/>
          </p15:clr>
        </p15:guide>
        <p15:guide id="19" pos="4392" userDrawn="1">
          <p15:clr>
            <a:srgbClr val="A4A3A4"/>
          </p15:clr>
        </p15:guide>
        <p15:guide id="20" pos="4944" userDrawn="1">
          <p15:clr>
            <a:srgbClr val="A4A3A4"/>
          </p15:clr>
        </p15:guide>
        <p15:guide id="21" pos="5544" userDrawn="1">
          <p15:clr>
            <a:srgbClr val="A4A3A4"/>
          </p15:clr>
        </p15:guide>
        <p15:guide id="22" pos="6072" userDrawn="1">
          <p15:clr>
            <a:srgbClr val="A4A3A4"/>
          </p15:clr>
        </p15:guide>
        <p15:guide id="23" orient="horz" pos="2448" userDrawn="1">
          <p15:clr>
            <a:srgbClr val="A4A3A4"/>
          </p15:clr>
        </p15:guide>
        <p15:guide id="24" orient="horz" pos="960" userDrawn="1">
          <p15:clr>
            <a:srgbClr val="A4A3A4"/>
          </p15:clr>
        </p15:guide>
        <p15:guide id="25" pos="5256" userDrawn="1">
          <p15:clr>
            <a:srgbClr val="A4A3A4"/>
          </p15:clr>
        </p15:guide>
        <p15:guide id="26" pos="7261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02C8F"/>
    <a:srgbClr val="FDFBF6"/>
    <a:srgbClr val="AAC4E9"/>
    <a:srgbClr val="F5CDCE"/>
    <a:srgbClr val="DF8C8C"/>
    <a:srgbClr val="D4D593"/>
    <a:srgbClr val="E6F0FE"/>
    <a:srgbClr val="CDBE8A"/>
    <a:srgbClr val="FFEFEF"/>
    <a:srgbClr val="FCFBF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E442D09-2E99-0A7E-2810-CC9718014833}" v="14" dt="2024-01-23T00:49:21.363"/>
    <p1510:client id="{315C4196-D24F-4B8B-9CC3-DD895D325E88}" v="1034" dt="2024-01-22T23:15:02.476"/>
    <p1510:client id="{393193A3-6C87-49A7-8D7E-FA28A868652E}" v="17" dt="2024-01-22T20:06:18.037"/>
    <p1510:client id="{4EADA1CF-6193-416F-BB68-D817D05E27E7}" v="436" dt="2024-01-22T23:35:11.486"/>
    <p1510:client id="{653EC4C0-7613-B9DA-C227-26185D511D56}" v="37" dt="2024-01-22T20:31:40.973"/>
    <p1510:client id="{7008FF3C-F121-465C-B9CA-D0AB934D5A66}" vWet="2" dt="2024-01-22T22:41:48.894"/>
    <p1510:client id="{8A3A5579-427E-C172-7781-947E7CD645C4}" v="2" dt="2024-01-22T23:59:07.765"/>
  </p1510:revLst>
</p1510:revInfo>
</file>

<file path=ppt/tableStyles.xml><?xml version="1.0" encoding="utf-8"?>
<a:tblStyleLst xmlns:a="http://schemas.openxmlformats.org/drawingml/2006/main" def="{5C22544A-7EE6-4342-B048-85BDC9FD1C3A}"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B9631B5-78F2-41C9-869B-9F39066F8104}" styleName="Medium Style 3 - 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>
        <p:guide/>
        <p:guide pos="456"/>
        <p:guide orient="horz" pos="2616"/>
        <p:guide orient="horz" pos="3264"/>
        <p:guide pos="6912"/>
        <p:guide orient="horz" pos="2136"/>
        <p:guide orient="horz" pos="4008"/>
        <p:guide orient="horz" pos="1152"/>
        <p:guide orient="horz" pos="2352"/>
        <p:guide orient="horz" pos="1512"/>
        <p:guide pos="7680"/>
        <p:guide pos="6696"/>
        <p:guide pos="1008"/>
        <p:guide pos="1584"/>
        <p:guide pos="2136"/>
        <p:guide pos="2760"/>
        <p:guide pos="3288"/>
        <p:guide pos="4032"/>
        <p:guide pos="4392"/>
        <p:guide pos="4944"/>
        <p:guide pos="5544"/>
        <p:guide pos="6072"/>
        <p:guide orient="horz" pos="2448"/>
        <p:guide orient="horz" pos="960"/>
        <p:guide pos="5256"/>
        <p:guide pos="7261"/>
      </p:guideLst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microsoft.com/office/2018/10/relationships/authors" Target="author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808667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1pPr>
    <a:lvl2pPr marL="228600" algn="l" defTabSz="457200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2pPr>
    <a:lvl3pPr marL="457200" algn="l" defTabSz="457200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3pPr>
    <a:lvl4pPr marL="685800" algn="l" defTabSz="457200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4pPr>
    <a:lvl5pPr marL="914400" algn="l" defTabSz="457200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5pPr>
    <a:lvl6pPr marL="1143000" algn="l" defTabSz="457200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6pPr>
    <a:lvl7pPr marL="1371600" algn="l" defTabSz="457200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7pPr>
    <a:lvl8pPr marL="1600200" algn="l" defTabSz="457200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8pPr>
    <a:lvl9pPr marL="1828800" algn="l" defTabSz="457200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Image 0" descr="preencoded.png">
            <a:extLst>
              <a:ext uri="{FF2B5EF4-FFF2-40B4-BE49-F238E27FC236}">
                <a16:creationId xmlns:a16="http://schemas.microsoft.com/office/drawing/2014/main" id="{BA5D5A72-CB6F-F8DE-E2C9-90459C8C3DC1}"/>
              </a:ext>
            </a:extLst>
          </p:cNvPr>
          <p:cNvSpPr/>
          <p:nvPr/>
        </p:nvSpPr>
        <p:spPr>
          <a:xfrm>
            <a:off x="0" y="0"/>
            <a:ext cx="5295900" cy="6877050"/>
          </a:xfrm>
          <a:custGeom>
            <a:avLst/>
            <a:gdLst>
              <a:gd name="connsiteX0" fmla="*/ 0 w 5295900"/>
              <a:gd name="connsiteY0" fmla="*/ 0 h 6877050"/>
              <a:gd name="connsiteX1" fmla="*/ 5295900 w 5295900"/>
              <a:gd name="connsiteY1" fmla="*/ 0 h 6877050"/>
              <a:gd name="connsiteX2" fmla="*/ 5295900 w 5295900"/>
              <a:gd name="connsiteY2" fmla="*/ 6877050 h 6877050"/>
              <a:gd name="connsiteX3" fmla="*/ 0 w 5295900"/>
              <a:gd name="connsiteY3" fmla="*/ 687705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95900" h="6877050">
                <a:moveTo>
                  <a:pt x="0" y="0"/>
                </a:moveTo>
                <a:lnTo>
                  <a:pt x="5295900" y="0"/>
                </a:lnTo>
                <a:lnTo>
                  <a:pt x="5295900" y="6877050"/>
                </a:lnTo>
                <a:lnTo>
                  <a:pt x="0" y="6877050"/>
                </a:lnTo>
                <a:close/>
              </a:path>
            </a:pathLst>
          </a:custGeom>
          <a:solidFill>
            <a:schemeClr val="accent3"/>
          </a:solidFill>
          <a:ln w="4763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endParaRPr lang="en-US"/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E66FD7FF-2869-7902-36B2-2B229AB9AB19}"/>
              </a:ext>
            </a:extLst>
          </p:cNvPr>
          <p:cNvSpPr/>
          <p:nvPr userDrawn="1"/>
        </p:nvSpPr>
        <p:spPr>
          <a:xfrm>
            <a:off x="1600201" y="1153228"/>
            <a:ext cx="9191625" cy="5704772"/>
          </a:xfrm>
          <a:custGeom>
            <a:avLst/>
            <a:gdLst>
              <a:gd name="connsiteX0" fmla="*/ 4595813 w 9191625"/>
              <a:gd name="connsiteY0" fmla="*/ 0 h 5704772"/>
              <a:gd name="connsiteX1" fmla="*/ 9191625 w 9191625"/>
              <a:gd name="connsiteY1" fmla="*/ 4592108 h 5704772"/>
              <a:gd name="connsiteX2" fmla="*/ 9191625 w 9191625"/>
              <a:gd name="connsiteY2" fmla="*/ 5704772 h 5704772"/>
              <a:gd name="connsiteX3" fmla="*/ 0 w 9191625"/>
              <a:gd name="connsiteY3" fmla="*/ 5704772 h 5704772"/>
              <a:gd name="connsiteX4" fmla="*/ 0 w 9191625"/>
              <a:gd name="connsiteY4" fmla="*/ 4592108 h 5704772"/>
              <a:gd name="connsiteX5" fmla="*/ 4595813 w 9191625"/>
              <a:gd name="connsiteY5" fmla="*/ 0 h 57047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191625" h="5704772">
                <a:moveTo>
                  <a:pt x="4595813" y="0"/>
                </a:moveTo>
                <a:cubicBezTo>
                  <a:pt x="7133987" y="0"/>
                  <a:pt x="9191625" y="2055957"/>
                  <a:pt x="9191625" y="4592108"/>
                </a:cubicBezTo>
                <a:lnTo>
                  <a:pt x="9191625" y="5704772"/>
                </a:lnTo>
                <a:lnTo>
                  <a:pt x="0" y="5704772"/>
                </a:lnTo>
                <a:lnTo>
                  <a:pt x="0" y="4592108"/>
                </a:lnTo>
                <a:cubicBezTo>
                  <a:pt x="0" y="2055957"/>
                  <a:pt x="2057614" y="0"/>
                  <a:pt x="4595813" y="0"/>
                </a:cubicBezTo>
                <a:close/>
              </a:path>
            </a:pathLst>
          </a:custGeom>
          <a:solidFill>
            <a:schemeClr val="accent6"/>
          </a:solidFill>
          <a:ln w="4763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>
              <a:solidFill>
                <a:schemeClr val="tx1"/>
              </a:solidFill>
            </a:endParaRPr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B1457C88-4472-81CF-02AF-4421E0A3084B}"/>
              </a:ext>
            </a:extLst>
          </p:cNvPr>
          <p:cNvSpPr/>
          <p:nvPr userDrawn="1"/>
        </p:nvSpPr>
        <p:spPr>
          <a:xfrm>
            <a:off x="2795588" y="0"/>
            <a:ext cx="6803142" cy="5396474"/>
          </a:xfrm>
          <a:custGeom>
            <a:avLst/>
            <a:gdLst>
              <a:gd name="connsiteX0" fmla="*/ 0 w 6803142"/>
              <a:gd name="connsiteY0" fmla="*/ 0 h 5396474"/>
              <a:gd name="connsiteX1" fmla="*/ 6803142 w 6803142"/>
              <a:gd name="connsiteY1" fmla="*/ 0 h 5396474"/>
              <a:gd name="connsiteX2" fmla="*/ 6803142 w 6803142"/>
              <a:gd name="connsiteY2" fmla="*/ 1997094 h 5396474"/>
              <a:gd name="connsiteX3" fmla="*/ 3401576 w 6803142"/>
              <a:gd name="connsiteY3" fmla="*/ 5396474 h 5396474"/>
              <a:gd name="connsiteX4" fmla="*/ 0 w 6803142"/>
              <a:gd name="connsiteY4" fmla="*/ 1997094 h 53964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3142" h="5396474">
                <a:moveTo>
                  <a:pt x="0" y="0"/>
                </a:moveTo>
                <a:lnTo>
                  <a:pt x="6803142" y="0"/>
                </a:lnTo>
                <a:lnTo>
                  <a:pt x="6803142" y="1997094"/>
                </a:lnTo>
                <a:cubicBezTo>
                  <a:pt x="6803142" y="3874511"/>
                  <a:pt x="5280228" y="5396474"/>
                  <a:pt x="3401576" y="5396474"/>
                </a:cubicBezTo>
                <a:cubicBezTo>
                  <a:pt x="1522938" y="5396474"/>
                  <a:pt x="0" y="3874511"/>
                  <a:pt x="0" y="1997094"/>
                </a:cubicBezTo>
                <a:close/>
              </a:path>
            </a:pathLst>
          </a:custGeom>
          <a:solidFill>
            <a:schemeClr val="bg1">
              <a:alpha val="99000"/>
            </a:schemeClr>
          </a:solidFill>
          <a:ln w="4759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403092" y="1984248"/>
            <a:ext cx="5385816" cy="1225296"/>
          </a:xfrm>
        </p:spPr>
        <p:txBody>
          <a:bodyPr tIns="0" anchor="t">
            <a:noAutofit/>
          </a:bodyPr>
          <a:lstStyle>
            <a:lvl1pPr algn="ctr">
              <a:defRPr sz="4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349496" y="3483864"/>
            <a:ext cx="3493008" cy="878908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63179980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B950ED98-B5D1-206C-403F-FA954F9D2CFF}"/>
              </a:ext>
            </a:extLst>
          </p:cNvPr>
          <p:cNvSpPr/>
          <p:nvPr userDrawn="1"/>
        </p:nvSpPr>
        <p:spPr>
          <a:xfrm>
            <a:off x="685338" y="3796480"/>
            <a:ext cx="2011680" cy="151790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E8643CE-01D9-3E5E-15F6-20689F775F15}"/>
              </a:ext>
            </a:extLst>
          </p:cNvPr>
          <p:cNvSpPr/>
          <p:nvPr userDrawn="1"/>
        </p:nvSpPr>
        <p:spPr>
          <a:xfrm>
            <a:off x="2900911" y="3796480"/>
            <a:ext cx="2011680" cy="1517904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AF82DDD-EDEC-7D87-F43A-113C5E4A4FE7}"/>
              </a:ext>
            </a:extLst>
          </p:cNvPr>
          <p:cNvSpPr/>
          <p:nvPr userDrawn="1"/>
        </p:nvSpPr>
        <p:spPr>
          <a:xfrm>
            <a:off x="5116484" y="3796480"/>
            <a:ext cx="2011680" cy="151790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E47E492E-967F-54B7-55B1-08A5E1C3615B}"/>
              </a:ext>
            </a:extLst>
          </p:cNvPr>
          <p:cNvSpPr/>
          <p:nvPr userDrawn="1"/>
        </p:nvSpPr>
        <p:spPr>
          <a:xfrm>
            <a:off x="9547629" y="3796480"/>
            <a:ext cx="2011680" cy="151790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DC0053FE-E44A-CA97-F782-67FC633E722E}"/>
              </a:ext>
            </a:extLst>
          </p:cNvPr>
          <p:cNvSpPr/>
          <p:nvPr userDrawn="1"/>
        </p:nvSpPr>
        <p:spPr>
          <a:xfrm>
            <a:off x="7332057" y="3796480"/>
            <a:ext cx="2011680" cy="1517904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7445A0A-815D-3414-088B-C041E6742D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8952" y="841248"/>
            <a:ext cx="10671048" cy="768096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17B5E29-6335-83BC-FA01-FAE422D265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r>
              <a:rPr lang="en-US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36476D1-B61A-E9FD-E266-768B405CC3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48F63A3B-78C7-47BE-AE5E-E10140E0464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C025625F-8274-840F-6DD8-D36687CB8F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85338" y="2491684"/>
            <a:ext cx="2011680" cy="2825173"/>
          </a:xfrm>
          <a:noFill/>
          <a:ln w="12700">
            <a:solidFill>
              <a:schemeClr val="accent1"/>
            </a:solidFill>
          </a:ln>
        </p:spPr>
        <p:txBody>
          <a:bodyPr tIns="685800" anchor="t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 b="1" cap="all" spc="0" baseline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4" name="Picture Placeholder 62">
            <a:extLst>
              <a:ext uri="{FF2B5EF4-FFF2-40B4-BE49-F238E27FC236}">
                <a16:creationId xmlns:a16="http://schemas.microsoft.com/office/drawing/2014/main" id="{2F18FBB7-2D21-7954-1324-C7D3BFE5C85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1339134" y="2111058"/>
            <a:ext cx="704088" cy="704088"/>
          </a:xfrm>
          <a:prstGeom prst="ellipse">
            <a:avLst/>
          </a:prstGeom>
          <a:solidFill>
            <a:schemeClr val="accent1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9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2" name="Text Placeholder 51">
            <a:extLst>
              <a:ext uri="{FF2B5EF4-FFF2-40B4-BE49-F238E27FC236}">
                <a16:creationId xmlns:a16="http://schemas.microsoft.com/office/drawing/2014/main" id="{2EF54C35-5F8E-4E0A-AB4D-97E38121910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31058" y="3888404"/>
            <a:ext cx="1920240" cy="1371600"/>
          </a:xfrm>
          <a:noFill/>
          <a:ln>
            <a:noFill/>
          </a:ln>
        </p:spPr>
        <p:txBody>
          <a:bodyPr lIns="91440" rIns="91440" anchor="ctr">
            <a:noAutofit/>
          </a:bodyPr>
          <a:lstStyle>
            <a:lvl1pPr marL="0" indent="0" algn="ctr">
              <a:spcBef>
                <a:spcPts val="0"/>
              </a:spcBef>
              <a:buNone/>
              <a:defRPr sz="15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" name="Text Placeholder 4">
            <a:extLst>
              <a:ext uri="{FF2B5EF4-FFF2-40B4-BE49-F238E27FC236}">
                <a16:creationId xmlns:a16="http://schemas.microsoft.com/office/drawing/2014/main" id="{79F9AD31-B0C5-3563-C73A-8B6297FCFD1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2900910" y="2491684"/>
            <a:ext cx="2011680" cy="2825173"/>
          </a:xfrm>
          <a:noFill/>
          <a:ln w="12700">
            <a:solidFill>
              <a:schemeClr val="accent3"/>
            </a:solidFill>
          </a:ln>
        </p:spPr>
        <p:txBody>
          <a:bodyPr tIns="685800" anchor="t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 b="1" cap="all" spc="0" baseline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8" name="Picture Placeholder 62">
            <a:extLst>
              <a:ext uri="{FF2B5EF4-FFF2-40B4-BE49-F238E27FC236}">
                <a16:creationId xmlns:a16="http://schemas.microsoft.com/office/drawing/2014/main" id="{05E8E8EF-4954-870B-04E5-82BC660A6738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3554707" y="2111058"/>
            <a:ext cx="704088" cy="704088"/>
          </a:xfrm>
          <a:prstGeom prst="ellipse">
            <a:avLst/>
          </a:prstGeom>
          <a:solidFill>
            <a:schemeClr val="accent3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9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8" name="Text Placeholder 51">
            <a:extLst>
              <a:ext uri="{FF2B5EF4-FFF2-40B4-BE49-F238E27FC236}">
                <a16:creationId xmlns:a16="http://schemas.microsoft.com/office/drawing/2014/main" id="{75981CD1-EA26-D1CF-F19E-B58C16BA8A6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946630" y="3888404"/>
            <a:ext cx="1920240" cy="1371600"/>
          </a:xfrm>
          <a:noFill/>
          <a:ln>
            <a:noFill/>
          </a:ln>
        </p:spPr>
        <p:txBody>
          <a:bodyPr lIns="91440" rIns="91440" anchor="ctr">
            <a:noAutofit/>
          </a:bodyPr>
          <a:lstStyle>
            <a:lvl1pPr marL="0" indent="0" algn="ctr">
              <a:spcBef>
                <a:spcPts val="0"/>
              </a:spcBef>
              <a:buNone/>
              <a:defRPr sz="15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8" name="Text Placeholder 4">
            <a:extLst>
              <a:ext uri="{FF2B5EF4-FFF2-40B4-BE49-F238E27FC236}">
                <a16:creationId xmlns:a16="http://schemas.microsoft.com/office/drawing/2014/main" id="{3A09BBD1-5CBC-B0EF-71C0-054FCB989BC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16484" y="2491684"/>
            <a:ext cx="2011680" cy="2825173"/>
          </a:xfrm>
          <a:noFill/>
          <a:ln w="12700">
            <a:solidFill>
              <a:schemeClr val="accent1"/>
            </a:solidFill>
          </a:ln>
        </p:spPr>
        <p:txBody>
          <a:bodyPr tIns="685800" anchor="t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 b="1" cap="all" spc="0" baseline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7" name="Picture Placeholder 62">
            <a:extLst>
              <a:ext uri="{FF2B5EF4-FFF2-40B4-BE49-F238E27FC236}">
                <a16:creationId xmlns:a16="http://schemas.microsoft.com/office/drawing/2014/main" id="{4AD0C8C9-DB5A-6DC8-2729-A21F1A5CF174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5770280" y="2111058"/>
            <a:ext cx="704088" cy="704088"/>
          </a:xfrm>
          <a:prstGeom prst="ellipse">
            <a:avLst/>
          </a:prstGeom>
          <a:solidFill>
            <a:schemeClr val="accent1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9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9" name="Text Placeholder 51">
            <a:extLst>
              <a:ext uri="{FF2B5EF4-FFF2-40B4-BE49-F238E27FC236}">
                <a16:creationId xmlns:a16="http://schemas.microsoft.com/office/drawing/2014/main" id="{F02DE2DC-F65C-32A5-5821-89FB2F53C32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162204" y="3888404"/>
            <a:ext cx="1920240" cy="1371600"/>
          </a:xfrm>
          <a:noFill/>
          <a:ln>
            <a:noFill/>
          </a:ln>
        </p:spPr>
        <p:txBody>
          <a:bodyPr lIns="91440" rIns="91440" anchor="ctr">
            <a:noAutofit/>
          </a:bodyPr>
          <a:lstStyle>
            <a:lvl1pPr marL="0" indent="0" algn="ctr">
              <a:spcBef>
                <a:spcPts val="0"/>
              </a:spcBef>
              <a:buNone/>
              <a:defRPr sz="15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9" name="Text Placeholder 4">
            <a:extLst>
              <a:ext uri="{FF2B5EF4-FFF2-40B4-BE49-F238E27FC236}">
                <a16:creationId xmlns:a16="http://schemas.microsoft.com/office/drawing/2014/main" id="{084A0326-A0B8-1723-B8BA-B015344F2DC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332057" y="2491684"/>
            <a:ext cx="2011680" cy="2825173"/>
          </a:xfrm>
          <a:noFill/>
          <a:ln w="12700">
            <a:solidFill>
              <a:schemeClr val="accent3"/>
            </a:solidFill>
          </a:ln>
        </p:spPr>
        <p:txBody>
          <a:bodyPr tIns="685800" anchor="t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 b="1" cap="all" spc="0" baseline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6" name="Picture Placeholder 62">
            <a:extLst>
              <a:ext uri="{FF2B5EF4-FFF2-40B4-BE49-F238E27FC236}">
                <a16:creationId xmlns:a16="http://schemas.microsoft.com/office/drawing/2014/main" id="{139354A0-F5DF-3AC5-5E8B-A41146C26F3C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7985853" y="2111058"/>
            <a:ext cx="704088" cy="704088"/>
          </a:xfrm>
          <a:prstGeom prst="ellipse">
            <a:avLst/>
          </a:prstGeom>
          <a:solidFill>
            <a:schemeClr val="accent3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9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0" name="Text Placeholder 51">
            <a:extLst>
              <a:ext uri="{FF2B5EF4-FFF2-40B4-BE49-F238E27FC236}">
                <a16:creationId xmlns:a16="http://schemas.microsoft.com/office/drawing/2014/main" id="{E9730E82-F317-686A-8777-D81705BCC70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377777" y="3888404"/>
            <a:ext cx="1920240" cy="1371600"/>
          </a:xfrm>
          <a:noFill/>
          <a:ln>
            <a:noFill/>
          </a:ln>
        </p:spPr>
        <p:txBody>
          <a:bodyPr lIns="91440" rIns="91440" anchor="ctr">
            <a:noAutofit/>
          </a:bodyPr>
          <a:lstStyle>
            <a:lvl1pPr marL="0" indent="0" algn="ctr">
              <a:spcBef>
                <a:spcPts val="0"/>
              </a:spcBef>
              <a:buNone/>
              <a:defRPr sz="15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0" name="Text Placeholder 4">
            <a:extLst>
              <a:ext uri="{FF2B5EF4-FFF2-40B4-BE49-F238E27FC236}">
                <a16:creationId xmlns:a16="http://schemas.microsoft.com/office/drawing/2014/main" id="{0E3B57F3-1903-446F-D989-D6CA342D086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547629" y="2491684"/>
            <a:ext cx="2011680" cy="2825173"/>
          </a:xfrm>
          <a:noFill/>
          <a:ln w="12700">
            <a:solidFill>
              <a:schemeClr val="accent1"/>
            </a:solidFill>
          </a:ln>
        </p:spPr>
        <p:txBody>
          <a:bodyPr tIns="685800" anchor="t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 b="1" cap="all" spc="0" baseline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5" name="Picture Placeholder 62">
            <a:extLst>
              <a:ext uri="{FF2B5EF4-FFF2-40B4-BE49-F238E27FC236}">
                <a16:creationId xmlns:a16="http://schemas.microsoft.com/office/drawing/2014/main" id="{D5BF3A8A-72F1-392E-855B-5B36E244A7FD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10201425" y="2111058"/>
            <a:ext cx="704088" cy="704088"/>
          </a:xfrm>
          <a:prstGeom prst="ellipse">
            <a:avLst/>
          </a:prstGeom>
          <a:solidFill>
            <a:schemeClr val="accent1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9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1" name="Text Placeholder 51">
            <a:extLst>
              <a:ext uri="{FF2B5EF4-FFF2-40B4-BE49-F238E27FC236}">
                <a16:creationId xmlns:a16="http://schemas.microsoft.com/office/drawing/2014/main" id="{2AED5DDC-3165-FA12-0310-E3545223E29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593349" y="3888404"/>
            <a:ext cx="1920240" cy="1371600"/>
          </a:xfrm>
          <a:noFill/>
          <a:ln>
            <a:noFill/>
          </a:ln>
        </p:spPr>
        <p:txBody>
          <a:bodyPr lIns="91440" rIns="91440" anchor="ctr">
            <a:noAutofit/>
          </a:bodyPr>
          <a:lstStyle>
            <a:lvl1pPr marL="0" indent="0" algn="ctr">
              <a:spcBef>
                <a:spcPts val="0"/>
              </a:spcBef>
              <a:buNone/>
              <a:defRPr sz="15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7251621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E2DECB02-D9CE-E57A-0604-BFF41EC38AFA}"/>
              </a:ext>
            </a:extLst>
          </p:cNvPr>
          <p:cNvSpPr/>
          <p:nvPr userDrawn="1"/>
        </p:nvSpPr>
        <p:spPr>
          <a:xfrm>
            <a:off x="0" y="0"/>
            <a:ext cx="2838450" cy="2857958"/>
          </a:xfrm>
          <a:custGeom>
            <a:avLst/>
            <a:gdLst>
              <a:gd name="connsiteX0" fmla="*/ 1971005 w 2838450"/>
              <a:gd name="connsiteY0" fmla="*/ 0 h 2857958"/>
              <a:gd name="connsiteX1" fmla="*/ 2838450 w 2838450"/>
              <a:gd name="connsiteY1" fmla="*/ 0 h 2857958"/>
              <a:gd name="connsiteX2" fmla="*/ 2838450 w 2838450"/>
              <a:gd name="connsiteY2" fmla="*/ 7240 h 2857958"/>
              <a:gd name="connsiteX3" fmla="*/ 278890 w 2838450"/>
              <a:gd name="connsiteY3" fmla="*/ 2843883 h 2857958"/>
              <a:gd name="connsiteX4" fmla="*/ 0 w 2838450"/>
              <a:gd name="connsiteY4" fmla="*/ 2857958 h 2857958"/>
              <a:gd name="connsiteX5" fmla="*/ 0 w 2838450"/>
              <a:gd name="connsiteY5" fmla="*/ 1990580 h 2857958"/>
              <a:gd name="connsiteX6" fmla="*/ 190293 w 2838450"/>
              <a:gd name="connsiteY6" fmla="*/ 1980883 h 2857958"/>
              <a:gd name="connsiteX7" fmla="*/ 1960910 w 2838450"/>
              <a:gd name="connsiteY7" fmla="*/ 200390 h 2857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838450" h="2857958">
                <a:moveTo>
                  <a:pt x="1971005" y="0"/>
                </a:moveTo>
                <a:lnTo>
                  <a:pt x="2838450" y="0"/>
                </a:lnTo>
                <a:lnTo>
                  <a:pt x="2838450" y="7240"/>
                </a:lnTo>
                <a:cubicBezTo>
                  <a:pt x="2838450" y="1484015"/>
                  <a:pt x="1716931" y="2697914"/>
                  <a:pt x="278890" y="2843883"/>
                </a:cubicBezTo>
                <a:lnTo>
                  <a:pt x="0" y="2857958"/>
                </a:lnTo>
                <a:lnTo>
                  <a:pt x="0" y="1990580"/>
                </a:lnTo>
                <a:lnTo>
                  <a:pt x="190293" y="1980883"/>
                </a:lnTo>
                <a:cubicBezTo>
                  <a:pt x="1124600" y="1885128"/>
                  <a:pt x="1866185" y="1135788"/>
                  <a:pt x="1960910" y="20039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68E760EA-7D83-1DF2-A8EE-4F218084E74F}"/>
              </a:ext>
            </a:extLst>
          </p:cNvPr>
          <p:cNvSpPr/>
          <p:nvPr userDrawn="1"/>
        </p:nvSpPr>
        <p:spPr>
          <a:xfrm>
            <a:off x="1" y="-1"/>
            <a:ext cx="1970627" cy="1990267"/>
          </a:xfrm>
          <a:custGeom>
            <a:avLst/>
            <a:gdLst>
              <a:gd name="connsiteX0" fmla="*/ 0 w 1970627"/>
              <a:gd name="connsiteY0" fmla="*/ 0 h 1990267"/>
              <a:gd name="connsiteX1" fmla="*/ 1970627 w 1970627"/>
              <a:gd name="connsiteY1" fmla="*/ 0 h 1990267"/>
              <a:gd name="connsiteX2" fmla="*/ 1960534 w 1970627"/>
              <a:gd name="connsiteY2" fmla="*/ 200357 h 1990267"/>
              <a:gd name="connsiteX3" fmla="*/ 190254 w 1970627"/>
              <a:gd name="connsiteY3" fmla="*/ 1980571 h 1990267"/>
              <a:gd name="connsiteX4" fmla="*/ 0 w 1970627"/>
              <a:gd name="connsiteY4" fmla="*/ 1990267 h 19902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70627" h="1990267">
                <a:moveTo>
                  <a:pt x="0" y="0"/>
                </a:moveTo>
                <a:lnTo>
                  <a:pt x="1970627" y="0"/>
                </a:lnTo>
                <a:lnTo>
                  <a:pt x="1960534" y="200357"/>
                </a:lnTo>
                <a:cubicBezTo>
                  <a:pt x="1865827" y="1135608"/>
                  <a:pt x="1124383" y="1884831"/>
                  <a:pt x="190254" y="1980571"/>
                </a:cubicBezTo>
                <a:lnTo>
                  <a:pt x="0" y="1990267"/>
                </a:lnTo>
                <a:close/>
              </a:path>
            </a:pathLst>
          </a:custGeom>
          <a:solidFill>
            <a:srgbClr val="F5CDCE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US">
              <a:solidFill>
                <a:schemeClr val="tx1"/>
              </a:solidFill>
            </a:endParaRP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FF3F3353-78A1-F584-81A6-9513382DF18F}"/>
              </a:ext>
            </a:extLst>
          </p:cNvPr>
          <p:cNvSpPr/>
          <p:nvPr userDrawn="1"/>
        </p:nvSpPr>
        <p:spPr>
          <a:xfrm>
            <a:off x="1" y="1"/>
            <a:ext cx="1003449" cy="1013015"/>
          </a:xfrm>
          <a:custGeom>
            <a:avLst/>
            <a:gdLst>
              <a:gd name="connsiteX0" fmla="*/ 0 w 1003449"/>
              <a:gd name="connsiteY0" fmla="*/ 0 h 1013015"/>
              <a:gd name="connsiteX1" fmla="*/ 1003449 w 1003449"/>
              <a:gd name="connsiteY1" fmla="*/ 0 h 1013015"/>
              <a:gd name="connsiteX2" fmla="*/ 998306 w 1003449"/>
              <a:gd name="connsiteY2" fmla="*/ 100639 h 1013015"/>
              <a:gd name="connsiteX3" fmla="*/ 90663 w 1003449"/>
              <a:gd name="connsiteY3" fmla="*/ 1008380 h 1013015"/>
              <a:gd name="connsiteX4" fmla="*/ 0 w 1003449"/>
              <a:gd name="connsiteY4" fmla="*/ 1013015 h 10130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3449" h="1013015">
                <a:moveTo>
                  <a:pt x="0" y="0"/>
                </a:moveTo>
                <a:lnTo>
                  <a:pt x="1003449" y="0"/>
                </a:lnTo>
                <a:lnTo>
                  <a:pt x="998306" y="100639"/>
                </a:lnTo>
                <a:cubicBezTo>
                  <a:pt x="949402" y="576784"/>
                  <a:pt x="566756" y="959471"/>
                  <a:pt x="90663" y="1008380"/>
                </a:cubicBezTo>
                <a:lnTo>
                  <a:pt x="0" y="101301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US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65C6DDD-D2BB-0153-0F53-9F7C17BDFD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100000"/>
              </a:lnSpc>
              <a:defRPr>
                <a:solidFill>
                  <a:schemeClr val="accent6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71A846E-CBB1-9805-456D-0C0B890912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0" name="Image 2" descr="preencoded.png">
            <a:extLst>
              <a:ext uri="{FF2B5EF4-FFF2-40B4-BE49-F238E27FC236}">
                <a16:creationId xmlns:a16="http://schemas.microsoft.com/office/drawing/2014/main" id="{790E862E-398F-571C-EC2C-3D17164DE059}"/>
              </a:ext>
            </a:extLst>
          </p:cNvPr>
          <p:cNvSpPr/>
          <p:nvPr/>
        </p:nvSpPr>
        <p:spPr>
          <a:xfrm>
            <a:off x="1458332" y="590133"/>
            <a:ext cx="775021" cy="775021"/>
          </a:xfrm>
          <a:custGeom>
            <a:avLst/>
            <a:gdLst>
              <a:gd name="connsiteX0" fmla="*/ 387511 w 775021"/>
              <a:gd name="connsiteY0" fmla="*/ 775021 h 775021"/>
              <a:gd name="connsiteX1" fmla="*/ 775021 w 775021"/>
              <a:gd name="connsiteY1" fmla="*/ 387511 h 775021"/>
              <a:gd name="connsiteX2" fmla="*/ 387511 w 775021"/>
              <a:gd name="connsiteY2" fmla="*/ 0 h 775021"/>
              <a:gd name="connsiteX3" fmla="*/ 0 w 775021"/>
              <a:gd name="connsiteY3" fmla="*/ 387511 h 775021"/>
              <a:gd name="connsiteX4" fmla="*/ 387511 w 775021"/>
              <a:gd name="connsiteY4" fmla="*/ 775021 h 7750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75021" h="775021">
                <a:moveTo>
                  <a:pt x="387511" y="775021"/>
                </a:moveTo>
                <a:cubicBezTo>
                  <a:pt x="601527" y="775021"/>
                  <a:pt x="775021" y="601527"/>
                  <a:pt x="775021" y="387511"/>
                </a:cubicBezTo>
                <a:cubicBezTo>
                  <a:pt x="775021" y="173494"/>
                  <a:pt x="601527" y="0"/>
                  <a:pt x="387511" y="0"/>
                </a:cubicBezTo>
                <a:cubicBezTo>
                  <a:pt x="173494" y="0"/>
                  <a:pt x="0" y="173494"/>
                  <a:pt x="0" y="387511"/>
                </a:cubicBezTo>
                <a:cubicBezTo>
                  <a:pt x="0" y="601527"/>
                  <a:pt x="173494" y="775021"/>
                  <a:pt x="387511" y="775021"/>
                </a:cubicBezTo>
                <a:close/>
              </a:path>
            </a:pathLst>
          </a:custGeom>
          <a:solidFill>
            <a:schemeClr val="accent6"/>
          </a:solidFill>
          <a:ln w="3801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AB1DF8DE-0EED-2627-4B5E-266C0BC276BE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85338" y="3017520"/>
            <a:ext cx="1993392" cy="557784"/>
          </a:xfrm>
          <a:solidFill>
            <a:schemeClr val="accent3"/>
          </a:solidFill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 b="1" cap="all" spc="0" baseline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MMM YYYY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5AE99EEE-38C4-CB2D-EEA0-8A2EB6F129E4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2900911" y="3017520"/>
            <a:ext cx="1993392" cy="557784"/>
          </a:xfrm>
          <a:solidFill>
            <a:schemeClr val="accent1"/>
          </a:solidFill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 b="1" cap="all" spc="0" baseline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MMM YYYY</a:t>
            </a:r>
          </a:p>
        </p:txBody>
      </p:sp>
      <p:sp>
        <p:nvSpPr>
          <p:cNvPr id="33" name="Text Placeholder 4">
            <a:extLst>
              <a:ext uri="{FF2B5EF4-FFF2-40B4-BE49-F238E27FC236}">
                <a16:creationId xmlns:a16="http://schemas.microsoft.com/office/drawing/2014/main" id="{AA90F0AE-69F4-EBD3-AED1-81E98D34811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16484" y="3017520"/>
            <a:ext cx="1993392" cy="557784"/>
          </a:xfrm>
          <a:solidFill>
            <a:schemeClr val="accent3"/>
          </a:solidFill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 b="1" cap="all" spc="0" baseline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MMM YYYY</a:t>
            </a:r>
          </a:p>
        </p:txBody>
      </p:sp>
      <p:sp>
        <p:nvSpPr>
          <p:cNvPr id="34" name="Text Placeholder 4">
            <a:extLst>
              <a:ext uri="{FF2B5EF4-FFF2-40B4-BE49-F238E27FC236}">
                <a16:creationId xmlns:a16="http://schemas.microsoft.com/office/drawing/2014/main" id="{F9E49243-B04A-D7AF-B4C7-8E1AE776F8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332057" y="3017520"/>
            <a:ext cx="1993392" cy="557784"/>
          </a:xfrm>
          <a:solidFill>
            <a:schemeClr val="accent1"/>
          </a:solidFill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 b="1" cap="all" spc="0" baseline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MMM YYYY</a:t>
            </a:r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4780DCD4-46DE-8C31-9F39-FC6E45FC1EB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547629" y="3017520"/>
            <a:ext cx="1993392" cy="557784"/>
          </a:xfrm>
          <a:solidFill>
            <a:schemeClr val="accent3"/>
          </a:solidFill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 b="1" cap="all" spc="0" baseline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MMM YYYY</a:t>
            </a:r>
          </a:p>
        </p:txBody>
      </p:sp>
      <p:sp>
        <p:nvSpPr>
          <p:cNvPr id="36" name="Text Placeholder 51">
            <a:extLst>
              <a:ext uri="{FF2B5EF4-FFF2-40B4-BE49-F238E27FC236}">
                <a16:creationId xmlns:a16="http://schemas.microsoft.com/office/drawing/2014/main" id="{9FBDF935-4925-03EC-CBC9-1EBA90DF84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85338" y="4745736"/>
            <a:ext cx="1993392" cy="795528"/>
          </a:xfrm>
          <a:noFill/>
        </p:spPr>
        <p:txBody>
          <a:bodyPr lIns="0" rIns="0" anchor="t" anchorCtr="0">
            <a:noAutofit/>
          </a:bodyPr>
          <a:lstStyle>
            <a:lvl1pPr marL="0" indent="0" algn="ctr">
              <a:spcBef>
                <a:spcPts val="0"/>
              </a:spcBef>
              <a:buNone/>
              <a:defRPr sz="15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 Placeholder 51">
            <a:extLst>
              <a:ext uri="{FF2B5EF4-FFF2-40B4-BE49-F238E27FC236}">
                <a16:creationId xmlns:a16="http://schemas.microsoft.com/office/drawing/2014/main" id="{9BB76AA7-442D-54A7-D075-C67F4743896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900911" y="4745736"/>
            <a:ext cx="1993392" cy="795528"/>
          </a:xfrm>
          <a:noFill/>
        </p:spPr>
        <p:txBody>
          <a:bodyPr lIns="0" rIns="0" anchor="t" anchorCtr="0">
            <a:noAutofit/>
          </a:bodyPr>
          <a:lstStyle>
            <a:lvl1pPr marL="0" indent="0" algn="ctr">
              <a:spcBef>
                <a:spcPts val="0"/>
              </a:spcBef>
              <a:buNone/>
              <a:defRPr sz="15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8" name="Text Placeholder 51">
            <a:extLst>
              <a:ext uri="{FF2B5EF4-FFF2-40B4-BE49-F238E27FC236}">
                <a16:creationId xmlns:a16="http://schemas.microsoft.com/office/drawing/2014/main" id="{9E419856-1586-F2D8-A1B4-F67FEE9839D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116484" y="4745736"/>
            <a:ext cx="1993392" cy="795528"/>
          </a:xfrm>
          <a:noFill/>
        </p:spPr>
        <p:txBody>
          <a:bodyPr lIns="0" rIns="0" anchor="t" anchorCtr="0">
            <a:noAutofit/>
          </a:bodyPr>
          <a:lstStyle>
            <a:lvl1pPr marL="0" indent="0" algn="ctr">
              <a:spcBef>
                <a:spcPts val="0"/>
              </a:spcBef>
              <a:buNone/>
              <a:defRPr sz="15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Text Placeholder 51">
            <a:extLst>
              <a:ext uri="{FF2B5EF4-FFF2-40B4-BE49-F238E27FC236}">
                <a16:creationId xmlns:a16="http://schemas.microsoft.com/office/drawing/2014/main" id="{AED74DD2-EAE3-76BF-56B9-C04FCED1F2D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332057" y="4745736"/>
            <a:ext cx="1993392" cy="795528"/>
          </a:xfrm>
          <a:noFill/>
        </p:spPr>
        <p:txBody>
          <a:bodyPr lIns="0" rIns="0" anchor="t" anchorCtr="0">
            <a:noAutofit/>
          </a:bodyPr>
          <a:lstStyle>
            <a:lvl1pPr marL="0" indent="0" algn="ctr">
              <a:spcBef>
                <a:spcPts val="0"/>
              </a:spcBef>
              <a:buNone/>
              <a:defRPr sz="15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0" name="Text Placeholder 51">
            <a:extLst>
              <a:ext uri="{FF2B5EF4-FFF2-40B4-BE49-F238E27FC236}">
                <a16:creationId xmlns:a16="http://schemas.microsoft.com/office/drawing/2014/main" id="{0A39AD48-2F98-C0C9-DE08-CED7EBF816B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547629" y="4745736"/>
            <a:ext cx="1993392" cy="795528"/>
          </a:xfrm>
          <a:noFill/>
        </p:spPr>
        <p:txBody>
          <a:bodyPr lIns="0" rIns="0" anchor="t" anchorCtr="0">
            <a:noAutofit/>
          </a:bodyPr>
          <a:lstStyle>
            <a:lvl1pPr marL="0" indent="0" algn="ctr">
              <a:spcBef>
                <a:spcPts val="0"/>
              </a:spcBef>
              <a:buNone/>
              <a:defRPr sz="15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E6BE61D7-B0A3-902B-4F58-727982880EF5}"/>
              </a:ext>
            </a:extLst>
          </p:cNvPr>
          <p:cNvCxnSpPr>
            <a:cxnSpLocks/>
          </p:cNvCxnSpPr>
          <p:nvPr userDrawn="1"/>
        </p:nvCxnSpPr>
        <p:spPr>
          <a:xfrm>
            <a:off x="739398" y="4187681"/>
            <a:ext cx="10812360" cy="0"/>
          </a:xfrm>
          <a:prstGeom prst="line">
            <a:avLst/>
          </a:prstGeom>
          <a:ln w="12700"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503357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19">
            <a:extLst>
              <a:ext uri="{FF2B5EF4-FFF2-40B4-BE49-F238E27FC236}">
                <a16:creationId xmlns:a16="http://schemas.microsoft.com/office/drawing/2014/main" id="{C26B5661-F583-FA44-8353-161B862E69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86784" y="1243584"/>
            <a:ext cx="8165592" cy="768096"/>
          </a:xfrm>
        </p:spPr>
        <p:txBody>
          <a:bodyPr>
            <a:noAutofit/>
          </a:bodyPr>
          <a:lstStyle>
            <a:lvl1pPr algn="l">
              <a:lnSpc>
                <a:spcPct val="10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Image 0" descr="preencoded.png">
            <a:extLst>
              <a:ext uri="{FF2B5EF4-FFF2-40B4-BE49-F238E27FC236}">
                <a16:creationId xmlns:a16="http://schemas.microsoft.com/office/drawing/2014/main" id="{CD2D664E-6702-6607-A37E-2E996144917C}"/>
              </a:ext>
            </a:extLst>
          </p:cNvPr>
          <p:cNvSpPr/>
          <p:nvPr userDrawn="1"/>
        </p:nvSpPr>
        <p:spPr>
          <a:xfrm>
            <a:off x="-5568" y="-2784"/>
            <a:ext cx="3443288" cy="6891337"/>
          </a:xfrm>
          <a:custGeom>
            <a:avLst/>
            <a:gdLst>
              <a:gd name="connsiteX0" fmla="*/ 3443288 w 3443288"/>
              <a:gd name="connsiteY0" fmla="*/ 0 h 6891337"/>
              <a:gd name="connsiteX1" fmla="*/ 0 w 3443288"/>
              <a:gd name="connsiteY1" fmla="*/ 0 h 6891337"/>
              <a:gd name="connsiteX2" fmla="*/ 0 w 3443288"/>
              <a:gd name="connsiteY2" fmla="*/ 6891338 h 6891337"/>
              <a:gd name="connsiteX3" fmla="*/ 3443288 w 3443288"/>
              <a:gd name="connsiteY3" fmla="*/ 6891338 h 6891337"/>
              <a:gd name="connsiteX4" fmla="*/ 3443288 w 3443288"/>
              <a:gd name="connsiteY4" fmla="*/ 0 h 68913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43288" h="6891337">
                <a:moveTo>
                  <a:pt x="3443288" y="0"/>
                </a:moveTo>
                <a:lnTo>
                  <a:pt x="0" y="0"/>
                </a:lnTo>
                <a:lnTo>
                  <a:pt x="0" y="6891338"/>
                </a:lnTo>
                <a:lnTo>
                  <a:pt x="3443288" y="6891338"/>
                </a:lnTo>
                <a:lnTo>
                  <a:pt x="3443288" y="0"/>
                </a:lnTo>
                <a:close/>
              </a:path>
            </a:pathLst>
          </a:custGeom>
          <a:solidFill>
            <a:schemeClr val="accent3"/>
          </a:solidFill>
          <a:ln w="4756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endParaRPr lang="en-US"/>
          </a:p>
        </p:txBody>
      </p:sp>
      <p:pic>
        <p:nvPicPr>
          <p:cNvPr id="13" name="Image 1" descr="preencoded.png">
            <a:extLst>
              <a:ext uri="{FF2B5EF4-FFF2-40B4-BE49-F238E27FC236}">
                <a16:creationId xmlns:a16="http://schemas.microsoft.com/office/drawing/2014/main" id="{951C5737-DF7E-D671-AC74-9E488335BCA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703311" y="-2784"/>
            <a:ext cx="1734410" cy="5167313"/>
          </a:xfrm>
          <a:prstGeom prst="rect">
            <a:avLst/>
          </a:prstGeom>
        </p:spPr>
      </p:pic>
      <p:sp>
        <p:nvSpPr>
          <p:cNvPr id="39" name="Freeform: Shape 38">
            <a:extLst>
              <a:ext uri="{FF2B5EF4-FFF2-40B4-BE49-F238E27FC236}">
                <a16:creationId xmlns:a16="http://schemas.microsoft.com/office/drawing/2014/main" id="{F232A1E1-DD38-15EA-6CA1-A84950EC43F0}"/>
              </a:ext>
            </a:extLst>
          </p:cNvPr>
          <p:cNvSpPr/>
          <p:nvPr/>
        </p:nvSpPr>
        <p:spPr>
          <a:xfrm>
            <a:off x="1721621" y="-2784"/>
            <a:ext cx="1716115" cy="1720853"/>
          </a:xfrm>
          <a:custGeom>
            <a:avLst/>
            <a:gdLst>
              <a:gd name="connsiteX0" fmla="*/ 93358 w 1716115"/>
              <a:gd name="connsiteY0" fmla="*/ 0 h 1720853"/>
              <a:gd name="connsiteX1" fmla="*/ 110348 w 1716115"/>
              <a:gd name="connsiteY1" fmla="*/ 0 h 1720853"/>
              <a:gd name="connsiteX2" fmla="*/ 1716029 w 1716115"/>
              <a:gd name="connsiteY2" fmla="*/ 1610112 h 1720853"/>
              <a:gd name="connsiteX3" fmla="*/ 1716029 w 1716115"/>
              <a:gd name="connsiteY3" fmla="*/ 1627151 h 1720853"/>
              <a:gd name="connsiteX4" fmla="*/ 1716115 w 1716115"/>
              <a:gd name="connsiteY4" fmla="*/ 1627237 h 1720853"/>
              <a:gd name="connsiteX5" fmla="*/ 93358 w 1716115"/>
              <a:gd name="connsiteY5" fmla="*/ 0 h 1720853"/>
              <a:gd name="connsiteX6" fmla="*/ 0 w 1716115"/>
              <a:gd name="connsiteY6" fmla="*/ 0 h 1720853"/>
              <a:gd name="connsiteX7" fmla="*/ 16989 w 1716115"/>
              <a:gd name="connsiteY7" fmla="*/ 0 h 1720853"/>
              <a:gd name="connsiteX8" fmla="*/ 1716114 w 1716115"/>
              <a:gd name="connsiteY8" fmla="*/ 1703814 h 1720853"/>
              <a:gd name="connsiteX9" fmla="*/ 1716114 w 1716115"/>
              <a:gd name="connsiteY9" fmla="*/ 1720853 h 1720853"/>
              <a:gd name="connsiteX10" fmla="*/ 0 w 1716115"/>
              <a:gd name="connsiteY10" fmla="*/ 0 h 1720853"/>
              <a:gd name="connsiteX11" fmla="*/ 186798 w 1716115"/>
              <a:gd name="connsiteY11" fmla="*/ 0 h 1720853"/>
              <a:gd name="connsiteX12" fmla="*/ 203788 w 1716115"/>
              <a:gd name="connsiteY12" fmla="*/ 0 h 1720853"/>
              <a:gd name="connsiteX13" fmla="*/ 1716109 w 1716115"/>
              <a:gd name="connsiteY13" fmla="*/ 1516501 h 1720853"/>
              <a:gd name="connsiteX14" fmla="*/ 1716109 w 1716115"/>
              <a:gd name="connsiteY14" fmla="*/ 1533535 h 1720853"/>
              <a:gd name="connsiteX15" fmla="*/ 186798 w 1716115"/>
              <a:gd name="connsiteY15" fmla="*/ 0 h 1720853"/>
              <a:gd name="connsiteX16" fmla="*/ 280155 w 1716115"/>
              <a:gd name="connsiteY16" fmla="*/ 0 h 1720853"/>
              <a:gd name="connsiteX17" fmla="*/ 297145 w 1716115"/>
              <a:gd name="connsiteY17" fmla="*/ 0 h 1720853"/>
              <a:gd name="connsiteX18" fmla="*/ 1716114 w 1716115"/>
              <a:gd name="connsiteY18" fmla="*/ 1422885 h 1720853"/>
              <a:gd name="connsiteX19" fmla="*/ 1716114 w 1716115"/>
              <a:gd name="connsiteY19" fmla="*/ 1439924 h 1720853"/>
              <a:gd name="connsiteX20" fmla="*/ 280155 w 1716115"/>
              <a:gd name="connsiteY20" fmla="*/ 0 h 1720853"/>
              <a:gd name="connsiteX21" fmla="*/ 373512 w 1716115"/>
              <a:gd name="connsiteY21" fmla="*/ 0 h 1720853"/>
              <a:gd name="connsiteX22" fmla="*/ 390502 w 1716115"/>
              <a:gd name="connsiteY22" fmla="*/ 0 h 1720853"/>
              <a:gd name="connsiteX23" fmla="*/ 1716029 w 1716115"/>
              <a:gd name="connsiteY23" fmla="*/ 1329184 h 1720853"/>
              <a:gd name="connsiteX24" fmla="*/ 1716029 w 1716115"/>
              <a:gd name="connsiteY24" fmla="*/ 1346223 h 1720853"/>
              <a:gd name="connsiteX25" fmla="*/ 1716114 w 1716115"/>
              <a:gd name="connsiteY25" fmla="*/ 1346308 h 1720853"/>
              <a:gd name="connsiteX26" fmla="*/ 373512 w 1716115"/>
              <a:gd name="connsiteY26" fmla="*/ 0 h 1720853"/>
              <a:gd name="connsiteX27" fmla="*/ 466953 w 1716115"/>
              <a:gd name="connsiteY27" fmla="*/ 0 h 1720853"/>
              <a:gd name="connsiteX28" fmla="*/ 483944 w 1716115"/>
              <a:gd name="connsiteY28" fmla="*/ 0 h 1720853"/>
              <a:gd name="connsiteX29" fmla="*/ 1716110 w 1716115"/>
              <a:gd name="connsiteY29" fmla="*/ 1235573 h 1720853"/>
              <a:gd name="connsiteX30" fmla="*/ 1716110 w 1716115"/>
              <a:gd name="connsiteY30" fmla="*/ 1252607 h 1720853"/>
              <a:gd name="connsiteX31" fmla="*/ 466953 w 1716115"/>
              <a:gd name="connsiteY31" fmla="*/ 0 h 1720853"/>
              <a:gd name="connsiteX32" fmla="*/ 560310 w 1716115"/>
              <a:gd name="connsiteY32" fmla="*/ 0 h 1720853"/>
              <a:gd name="connsiteX33" fmla="*/ 577297 w 1716115"/>
              <a:gd name="connsiteY33" fmla="*/ 0 h 1720853"/>
              <a:gd name="connsiteX34" fmla="*/ 1716109 w 1716115"/>
              <a:gd name="connsiteY34" fmla="*/ 1141957 h 1720853"/>
              <a:gd name="connsiteX35" fmla="*/ 1716109 w 1716115"/>
              <a:gd name="connsiteY35" fmla="*/ 1158991 h 1720853"/>
              <a:gd name="connsiteX36" fmla="*/ 560310 w 1716115"/>
              <a:gd name="connsiteY36" fmla="*/ 0 h 1720853"/>
              <a:gd name="connsiteX37" fmla="*/ 653668 w 1716115"/>
              <a:gd name="connsiteY37" fmla="*/ 0 h 1720853"/>
              <a:gd name="connsiteX38" fmla="*/ 670655 w 1716115"/>
              <a:gd name="connsiteY38" fmla="*/ 0 h 1720853"/>
              <a:gd name="connsiteX39" fmla="*/ 1716029 w 1716115"/>
              <a:gd name="connsiteY39" fmla="*/ 1048255 h 1720853"/>
              <a:gd name="connsiteX40" fmla="*/ 1716029 w 1716115"/>
              <a:gd name="connsiteY40" fmla="*/ 1065294 h 1720853"/>
              <a:gd name="connsiteX41" fmla="*/ 1716114 w 1716115"/>
              <a:gd name="connsiteY41" fmla="*/ 1065380 h 1720853"/>
              <a:gd name="connsiteX42" fmla="*/ 653668 w 1716115"/>
              <a:gd name="connsiteY42" fmla="*/ 0 h 1720853"/>
              <a:gd name="connsiteX43" fmla="*/ 747112 w 1716115"/>
              <a:gd name="connsiteY43" fmla="*/ 0 h 1720853"/>
              <a:gd name="connsiteX44" fmla="*/ 764104 w 1716115"/>
              <a:gd name="connsiteY44" fmla="*/ 0 h 1720853"/>
              <a:gd name="connsiteX45" fmla="*/ 1716115 w 1716115"/>
              <a:gd name="connsiteY45" fmla="*/ 954644 h 1720853"/>
              <a:gd name="connsiteX46" fmla="*/ 1716115 w 1716115"/>
              <a:gd name="connsiteY46" fmla="*/ 971678 h 1720853"/>
              <a:gd name="connsiteX47" fmla="*/ 747112 w 1716115"/>
              <a:gd name="connsiteY47" fmla="*/ 0 h 1720853"/>
              <a:gd name="connsiteX48" fmla="*/ 840465 w 1716115"/>
              <a:gd name="connsiteY48" fmla="*/ 0 h 1720853"/>
              <a:gd name="connsiteX49" fmla="*/ 857452 w 1716115"/>
              <a:gd name="connsiteY49" fmla="*/ 0 h 1720853"/>
              <a:gd name="connsiteX50" fmla="*/ 1716109 w 1716115"/>
              <a:gd name="connsiteY50" fmla="*/ 861028 h 1720853"/>
              <a:gd name="connsiteX51" fmla="*/ 1716109 w 1716115"/>
              <a:gd name="connsiteY51" fmla="*/ 878062 h 1720853"/>
              <a:gd name="connsiteX52" fmla="*/ 840465 w 1716115"/>
              <a:gd name="connsiteY52" fmla="*/ 0 h 1720853"/>
              <a:gd name="connsiteX53" fmla="*/ 933823 w 1716115"/>
              <a:gd name="connsiteY53" fmla="*/ 0 h 1720853"/>
              <a:gd name="connsiteX54" fmla="*/ 950810 w 1716115"/>
              <a:gd name="connsiteY54" fmla="*/ 0 h 1720853"/>
              <a:gd name="connsiteX55" fmla="*/ 1716114 w 1716115"/>
              <a:gd name="connsiteY55" fmla="*/ 767327 h 1720853"/>
              <a:gd name="connsiteX56" fmla="*/ 1716114 w 1716115"/>
              <a:gd name="connsiteY56" fmla="*/ 784366 h 1720853"/>
              <a:gd name="connsiteX57" fmla="*/ 1716114 w 1716115"/>
              <a:gd name="connsiteY57" fmla="*/ 784451 h 1720853"/>
              <a:gd name="connsiteX58" fmla="*/ 933823 w 1716115"/>
              <a:gd name="connsiteY58" fmla="*/ 0 h 1720853"/>
              <a:gd name="connsiteX59" fmla="*/ 1027262 w 1716115"/>
              <a:gd name="connsiteY59" fmla="*/ 0 h 1720853"/>
              <a:gd name="connsiteX60" fmla="*/ 1044254 w 1716115"/>
              <a:gd name="connsiteY60" fmla="*/ 0 h 1720853"/>
              <a:gd name="connsiteX61" fmla="*/ 1716110 w 1716115"/>
              <a:gd name="connsiteY61" fmla="*/ 673716 h 1720853"/>
              <a:gd name="connsiteX62" fmla="*/ 1716110 w 1716115"/>
              <a:gd name="connsiteY62" fmla="*/ 690750 h 1720853"/>
              <a:gd name="connsiteX63" fmla="*/ 1027262 w 1716115"/>
              <a:gd name="connsiteY63" fmla="*/ 0 h 1720853"/>
              <a:gd name="connsiteX64" fmla="*/ 1120625 w 1716115"/>
              <a:gd name="connsiteY64" fmla="*/ 0 h 1720853"/>
              <a:gd name="connsiteX65" fmla="*/ 1137612 w 1716115"/>
              <a:gd name="connsiteY65" fmla="*/ 0 h 1720853"/>
              <a:gd name="connsiteX66" fmla="*/ 1716115 w 1716115"/>
              <a:gd name="connsiteY66" fmla="*/ 580100 h 1720853"/>
              <a:gd name="connsiteX67" fmla="*/ 1716115 w 1716115"/>
              <a:gd name="connsiteY67" fmla="*/ 597134 h 1720853"/>
              <a:gd name="connsiteX68" fmla="*/ 1120625 w 1716115"/>
              <a:gd name="connsiteY68" fmla="*/ 0 h 1720853"/>
              <a:gd name="connsiteX69" fmla="*/ 1213978 w 1716115"/>
              <a:gd name="connsiteY69" fmla="*/ 0 h 1720853"/>
              <a:gd name="connsiteX70" fmla="*/ 1230965 w 1716115"/>
              <a:gd name="connsiteY70" fmla="*/ 0 h 1720853"/>
              <a:gd name="connsiteX71" fmla="*/ 1716109 w 1716115"/>
              <a:gd name="connsiteY71" fmla="*/ 486398 h 1720853"/>
              <a:gd name="connsiteX72" fmla="*/ 1716109 w 1716115"/>
              <a:gd name="connsiteY72" fmla="*/ 503437 h 1720853"/>
              <a:gd name="connsiteX73" fmla="*/ 1716109 w 1716115"/>
              <a:gd name="connsiteY73" fmla="*/ 503523 h 1720853"/>
              <a:gd name="connsiteX74" fmla="*/ 1213978 w 1716115"/>
              <a:gd name="connsiteY74" fmla="*/ 0 h 1720853"/>
              <a:gd name="connsiteX75" fmla="*/ 1307422 w 1716115"/>
              <a:gd name="connsiteY75" fmla="*/ 0 h 1720853"/>
              <a:gd name="connsiteX76" fmla="*/ 1324414 w 1716115"/>
              <a:gd name="connsiteY76" fmla="*/ 0 h 1720853"/>
              <a:gd name="connsiteX77" fmla="*/ 1716115 w 1716115"/>
              <a:gd name="connsiteY77" fmla="*/ 392784 h 1720853"/>
              <a:gd name="connsiteX78" fmla="*/ 1716115 w 1716115"/>
              <a:gd name="connsiteY78" fmla="*/ 409821 h 1720853"/>
              <a:gd name="connsiteX79" fmla="*/ 1307422 w 1716115"/>
              <a:gd name="connsiteY79" fmla="*/ 0 h 1720853"/>
              <a:gd name="connsiteX80" fmla="*/ 1400775 w 1716115"/>
              <a:gd name="connsiteY80" fmla="*/ 0 h 1720853"/>
              <a:gd name="connsiteX81" fmla="*/ 1417762 w 1716115"/>
              <a:gd name="connsiteY81" fmla="*/ 0 h 1720853"/>
              <a:gd name="connsiteX82" fmla="*/ 1716109 w 1716115"/>
              <a:gd name="connsiteY82" fmla="*/ 299170 h 1720853"/>
              <a:gd name="connsiteX83" fmla="*/ 1716109 w 1716115"/>
              <a:gd name="connsiteY83" fmla="*/ 316207 h 1720853"/>
              <a:gd name="connsiteX84" fmla="*/ 1400775 w 1716115"/>
              <a:gd name="connsiteY84" fmla="*/ 0 h 1720853"/>
              <a:gd name="connsiteX85" fmla="*/ 1494133 w 1716115"/>
              <a:gd name="connsiteY85" fmla="*/ 0 h 1720853"/>
              <a:gd name="connsiteX86" fmla="*/ 1511120 w 1716115"/>
              <a:gd name="connsiteY86" fmla="*/ 0 h 1720853"/>
              <a:gd name="connsiteX87" fmla="*/ 1716109 w 1716115"/>
              <a:gd name="connsiteY87" fmla="*/ 205556 h 1720853"/>
              <a:gd name="connsiteX88" fmla="*/ 1716109 w 1716115"/>
              <a:gd name="connsiteY88" fmla="*/ 222592 h 1720853"/>
              <a:gd name="connsiteX89" fmla="*/ 1494133 w 1716115"/>
              <a:gd name="connsiteY89" fmla="*/ 0 h 17208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</a:cxnLst>
            <a:rect l="l" t="t" r="r" b="b"/>
            <a:pathLst>
              <a:path w="1716115" h="1720853">
                <a:moveTo>
                  <a:pt x="93358" y="0"/>
                </a:moveTo>
                <a:lnTo>
                  <a:pt x="110348" y="0"/>
                </a:lnTo>
                <a:cubicBezTo>
                  <a:pt x="110348" y="887874"/>
                  <a:pt x="830686" y="1610112"/>
                  <a:pt x="1716029" y="1610112"/>
                </a:cubicBezTo>
                <a:lnTo>
                  <a:pt x="1716029" y="1627151"/>
                </a:lnTo>
                <a:lnTo>
                  <a:pt x="1716115" y="1627237"/>
                </a:lnTo>
                <a:cubicBezTo>
                  <a:pt x="821334" y="1627237"/>
                  <a:pt x="93358" y="897252"/>
                  <a:pt x="93358" y="0"/>
                </a:cubicBezTo>
                <a:close/>
                <a:moveTo>
                  <a:pt x="0" y="0"/>
                </a:moveTo>
                <a:lnTo>
                  <a:pt x="16989" y="0"/>
                </a:lnTo>
                <a:cubicBezTo>
                  <a:pt x="16989" y="939499"/>
                  <a:pt x="779202" y="1703814"/>
                  <a:pt x="1716114" y="1703814"/>
                </a:cubicBezTo>
                <a:lnTo>
                  <a:pt x="1716114" y="1720853"/>
                </a:lnTo>
                <a:cubicBezTo>
                  <a:pt x="769850" y="1720853"/>
                  <a:pt x="0" y="948877"/>
                  <a:pt x="0" y="0"/>
                </a:cubicBezTo>
                <a:close/>
                <a:moveTo>
                  <a:pt x="186798" y="0"/>
                </a:moveTo>
                <a:lnTo>
                  <a:pt x="203788" y="0"/>
                </a:lnTo>
                <a:cubicBezTo>
                  <a:pt x="203788" y="836248"/>
                  <a:pt x="882254" y="1516501"/>
                  <a:pt x="1716109" y="1516501"/>
                </a:cubicBezTo>
                <a:lnTo>
                  <a:pt x="1716109" y="1533535"/>
                </a:lnTo>
                <a:cubicBezTo>
                  <a:pt x="872812" y="1533535"/>
                  <a:pt x="186798" y="845626"/>
                  <a:pt x="186798" y="0"/>
                </a:cubicBezTo>
                <a:close/>
                <a:moveTo>
                  <a:pt x="280155" y="0"/>
                </a:moveTo>
                <a:lnTo>
                  <a:pt x="297145" y="0"/>
                </a:lnTo>
                <a:cubicBezTo>
                  <a:pt x="297145" y="784537"/>
                  <a:pt x="933652" y="1422885"/>
                  <a:pt x="1716114" y="1422885"/>
                </a:cubicBezTo>
                <a:lnTo>
                  <a:pt x="1716114" y="1439924"/>
                </a:lnTo>
                <a:cubicBezTo>
                  <a:pt x="924300" y="1439924"/>
                  <a:pt x="280155" y="794001"/>
                  <a:pt x="280155" y="0"/>
                </a:cubicBezTo>
                <a:close/>
                <a:moveTo>
                  <a:pt x="373512" y="0"/>
                </a:moveTo>
                <a:lnTo>
                  <a:pt x="390502" y="0"/>
                </a:lnTo>
                <a:cubicBezTo>
                  <a:pt x="390502" y="732911"/>
                  <a:pt x="985135" y="1329184"/>
                  <a:pt x="1716029" y="1329184"/>
                </a:cubicBezTo>
                <a:lnTo>
                  <a:pt x="1716029" y="1346223"/>
                </a:lnTo>
                <a:lnTo>
                  <a:pt x="1716114" y="1346308"/>
                </a:lnTo>
                <a:cubicBezTo>
                  <a:pt x="975783" y="1346308"/>
                  <a:pt x="373512" y="742375"/>
                  <a:pt x="373512" y="0"/>
                </a:cubicBezTo>
                <a:close/>
                <a:moveTo>
                  <a:pt x="466953" y="0"/>
                </a:moveTo>
                <a:lnTo>
                  <a:pt x="483944" y="0"/>
                </a:lnTo>
                <a:cubicBezTo>
                  <a:pt x="483944" y="681286"/>
                  <a:pt x="1036704" y="1235573"/>
                  <a:pt x="1716110" y="1235573"/>
                </a:cubicBezTo>
                <a:lnTo>
                  <a:pt x="1716110" y="1252607"/>
                </a:lnTo>
                <a:cubicBezTo>
                  <a:pt x="1027347" y="1252607"/>
                  <a:pt x="466953" y="690664"/>
                  <a:pt x="466953" y="0"/>
                </a:cubicBezTo>
                <a:close/>
                <a:moveTo>
                  <a:pt x="560310" y="0"/>
                </a:moveTo>
                <a:lnTo>
                  <a:pt x="577297" y="0"/>
                </a:lnTo>
                <a:cubicBezTo>
                  <a:pt x="577297" y="629660"/>
                  <a:pt x="1088188" y="1141957"/>
                  <a:pt x="1716109" y="1141957"/>
                </a:cubicBezTo>
                <a:lnTo>
                  <a:pt x="1716109" y="1158991"/>
                </a:lnTo>
                <a:cubicBezTo>
                  <a:pt x="1078835" y="1158991"/>
                  <a:pt x="560310" y="639038"/>
                  <a:pt x="560310" y="0"/>
                </a:cubicBezTo>
                <a:close/>
                <a:moveTo>
                  <a:pt x="653668" y="0"/>
                </a:moveTo>
                <a:lnTo>
                  <a:pt x="670655" y="0"/>
                </a:lnTo>
                <a:cubicBezTo>
                  <a:pt x="670655" y="578035"/>
                  <a:pt x="1139586" y="1048255"/>
                  <a:pt x="1716029" y="1048255"/>
                </a:cubicBezTo>
                <a:lnTo>
                  <a:pt x="1716029" y="1065294"/>
                </a:lnTo>
                <a:lnTo>
                  <a:pt x="1716114" y="1065380"/>
                </a:lnTo>
                <a:cubicBezTo>
                  <a:pt x="1130319" y="1065380"/>
                  <a:pt x="653668" y="587499"/>
                  <a:pt x="653668" y="0"/>
                </a:cubicBezTo>
                <a:close/>
                <a:moveTo>
                  <a:pt x="747112" y="0"/>
                </a:moveTo>
                <a:lnTo>
                  <a:pt x="764104" y="0"/>
                </a:lnTo>
                <a:cubicBezTo>
                  <a:pt x="764104" y="526409"/>
                  <a:pt x="1191155" y="954644"/>
                  <a:pt x="1716115" y="954644"/>
                </a:cubicBezTo>
                <a:lnTo>
                  <a:pt x="1716115" y="971678"/>
                </a:lnTo>
                <a:cubicBezTo>
                  <a:pt x="1181802" y="971678"/>
                  <a:pt x="747112" y="535787"/>
                  <a:pt x="747112" y="0"/>
                </a:cubicBezTo>
                <a:close/>
                <a:moveTo>
                  <a:pt x="840465" y="0"/>
                </a:moveTo>
                <a:lnTo>
                  <a:pt x="857452" y="0"/>
                </a:lnTo>
                <a:cubicBezTo>
                  <a:pt x="857452" y="474783"/>
                  <a:pt x="1242638" y="861028"/>
                  <a:pt x="1716109" y="861028"/>
                </a:cubicBezTo>
                <a:lnTo>
                  <a:pt x="1716109" y="878062"/>
                </a:lnTo>
                <a:cubicBezTo>
                  <a:pt x="1233281" y="878062"/>
                  <a:pt x="840465" y="484162"/>
                  <a:pt x="840465" y="0"/>
                </a:cubicBezTo>
                <a:close/>
                <a:moveTo>
                  <a:pt x="933823" y="0"/>
                </a:moveTo>
                <a:lnTo>
                  <a:pt x="950810" y="0"/>
                </a:lnTo>
                <a:cubicBezTo>
                  <a:pt x="950810" y="423157"/>
                  <a:pt x="1294121" y="767327"/>
                  <a:pt x="1716114" y="767327"/>
                </a:cubicBezTo>
                <a:lnTo>
                  <a:pt x="1716114" y="784366"/>
                </a:lnTo>
                <a:lnTo>
                  <a:pt x="1716114" y="784451"/>
                </a:lnTo>
                <a:cubicBezTo>
                  <a:pt x="1284769" y="784451"/>
                  <a:pt x="933823" y="432536"/>
                  <a:pt x="933823" y="0"/>
                </a:cubicBezTo>
                <a:close/>
                <a:moveTo>
                  <a:pt x="1027262" y="0"/>
                </a:moveTo>
                <a:lnTo>
                  <a:pt x="1044254" y="0"/>
                </a:lnTo>
                <a:cubicBezTo>
                  <a:pt x="1044254" y="371532"/>
                  <a:pt x="1345685" y="673716"/>
                  <a:pt x="1716110" y="673716"/>
                </a:cubicBezTo>
                <a:lnTo>
                  <a:pt x="1716110" y="690750"/>
                </a:lnTo>
                <a:cubicBezTo>
                  <a:pt x="1336248" y="690750"/>
                  <a:pt x="1027262" y="380824"/>
                  <a:pt x="1027262" y="0"/>
                </a:cubicBezTo>
                <a:close/>
                <a:moveTo>
                  <a:pt x="1120625" y="0"/>
                </a:moveTo>
                <a:lnTo>
                  <a:pt x="1137612" y="0"/>
                </a:lnTo>
                <a:cubicBezTo>
                  <a:pt x="1137612" y="319820"/>
                  <a:pt x="1397088" y="580100"/>
                  <a:pt x="1716115" y="580100"/>
                </a:cubicBezTo>
                <a:lnTo>
                  <a:pt x="1716115" y="597134"/>
                </a:lnTo>
                <a:cubicBezTo>
                  <a:pt x="1387736" y="597134"/>
                  <a:pt x="1120625" y="329285"/>
                  <a:pt x="1120625" y="0"/>
                </a:cubicBezTo>
                <a:close/>
                <a:moveTo>
                  <a:pt x="1213978" y="0"/>
                </a:moveTo>
                <a:lnTo>
                  <a:pt x="1230965" y="0"/>
                </a:lnTo>
                <a:cubicBezTo>
                  <a:pt x="1230965" y="268195"/>
                  <a:pt x="1448571" y="486398"/>
                  <a:pt x="1716109" y="486398"/>
                </a:cubicBezTo>
                <a:lnTo>
                  <a:pt x="1716109" y="503437"/>
                </a:lnTo>
                <a:lnTo>
                  <a:pt x="1716109" y="503523"/>
                </a:lnTo>
                <a:cubicBezTo>
                  <a:pt x="1439214" y="503523"/>
                  <a:pt x="1213978" y="277659"/>
                  <a:pt x="1213978" y="0"/>
                </a:cubicBezTo>
                <a:close/>
                <a:moveTo>
                  <a:pt x="1307422" y="0"/>
                </a:moveTo>
                <a:lnTo>
                  <a:pt x="1324414" y="0"/>
                </a:lnTo>
                <a:cubicBezTo>
                  <a:pt x="1324414" y="216569"/>
                  <a:pt x="1500141" y="392784"/>
                  <a:pt x="1716115" y="392784"/>
                </a:cubicBezTo>
                <a:lnTo>
                  <a:pt x="1716115" y="409821"/>
                </a:lnTo>
                <a:cubicBezTo>
                  <a:pt x="1490703" y="409821"/>
                  <a:pt x="1307422" y="225948"/>
                  <a:pt x="1307422" y="0"/>
                </a:cubicBezTo>
                <a:close/>
                <a:moveTo>
                  <a:pt x="1400775" y="0"/>
                </a:moveTo>
                <a:lnTo>
                  <a:pt x="1417762" y="0"/>
                </a:lnTo>
                <a:cubicBezTo>
                  <a:pt x="1417762" y="164944"/>
                  <a:pt x="1551619" y="299170"/>
                  <a:pt x="1716109" y="299170"/>
                </a:cubicBezTo>
                <a:lnTo>
                  <a:pt x="1716109" y="316207"/>
                </a:lnTo>
                <a:cubicBezTo>
                  <a:pt x="1542266" y="316207"/>
                  <a:pt x="1400775" y="174322"/>
                  <a:pt x="1400775" y="0"/>
                </a:cubicBezTo>
                <a:close/>
                <a:moveTo>
                  <a:pt x="1494133" y="0"/>
                </a:moveTo>
                <a:lnTo>
                  <a:pt x="1511120" y="0"/>
                </a:lnTo>
                <a:cubicBezTo>
                  <a:pt x="1511120" y="113318"/>
                  <a:pt x="1603017" y="205556"/>
                  <a:pt x="1716109" y="205556"/>
                </a:cubicBezTo>
                <a:lnTo>
                  <a:pt x="1716109" y="222592"/>
                </a:lnTo>
                <a:cubicBezTo>
                  <a:pt x="1593750" y="222592"/>
                  <a:pt x="1494133" y="122783"/>
                  <a:pt x="1494133" y="0"/>
                </a:cubicBezTo>
                <a:close/>
              </a:path>
            </a:pathLst>
          </a:custGeom>
          <a:solidFill>
            <a:schemeClr val="bg1">
              <a:alpha val="99000"/>
            </a:schemeClr>
          </a:solidFill>
          <a:ln w="4723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7" name="Image 5" descr="preencoded.png">
            <a:extLst>
              <a:ext uri="{FF2B5EF4-FFF2-40B4-BE49-F238E27FC236}">
                <a16:creationId xmlns:a16="http://schemas.microsoft.com/office/drawing/2014/main" id="{B9036D42-A06F-E6EE-BB91-8BAF045198BE}"/>
              </a:ext>
            </a:extLst>
          </p:cNvPr>
          <p:cNvSpPr/>
          <p:nvPr userDrawn="1"/>
        </p:nvSpPr>
        <p:spPr>
          <a:xfrm>
            <a:off x="-5568" y="3440504"/>
            <a:ext cx="3443288" cy="3448050"/>
          </a:xfrm>
          <a:custGeom>
            <a:avLst/>
            <a:gdLst>
              <a:gd name="connsiteX0" fmla="*/ 1721644 w 3443288"/>
              <a:gd name="connsiteY0" fmla="*/ 3448051 h 3448050"/>
              <a:gd name="connsiteX1" fmla="*/ 3443288 w 3443288"/>
              <a:gd name="connsiteY1" fmla="*/ 1724025 h 3448050"/>
              <a:gd name="connsiteX2" fmla="*/ 1721644 w 3443288"/>
              <a:gd name="connsiteY2" fmla="*/ 0 h 3448050"/>
              <a:gd name="connsiteX3" fmla="*/ 0 w 3443288"/>
              <a:gd name="connsiteY3" fmla="*/ 1724025 h 3448050"/>
              <a:gd name="connsiteX4" fmla="*/ 1721644 w 3443288"/>
              <a:gd name="connsiteY4" fmla="*/ 3448051 h 3448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43288" h="3448050">
                <a:moveTo>
                  <a:pt x="1721644" y="3448051"/>
                </a:moveTo>
                <a:cubicBezTo>
                  <a:pt x="2672482" y="3448051"/>
                  <a:pt x="3443288" y="2676178"/>
                  <a:pt x="3443288" y="1724025"/>
                </a:cubicBezTo>
                <a:cubicBezTo>
                  <a:pt x="3443288" y="771873"/>
                  <a:pt x="2672482" y="0"/>
                  <a:pt x="1721644" y="0"/>
                </a:cubicBezTo>
                <a:cubicBezTo>
                  <a:pt x="770806" y="0"/>
                  <a:pt x="0" y="771873"/>
                  <a:pt x="0" y="1724025"/>
                </a:cubicBezTo>
                <a:cubicBezTo>
                  <a:pt x="0" y="2676178"/>
                  <a:pt x="770806" y="3448051"/>
                  <a:pt x="1721644" y="3448051"/>
                </a:cubicBezTo>
                <a:close/>
              </a:path>
            </a:pathLst>
          </a:custGeom>
          <a:solidFill>
            <a:schemeClr val="accent6"/>
          </a:solidFill>
          <a:ln w="4756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endParaRPr lang="en-US"/>
          </a:p>
        </p:txBody>
      </p:sp>
      <p:pic>
        <p:nvPicPr>
          <p:cNvPr id="19" name="Image 6" descr="preencoded.png">
            <a:extLst>
              <a:ext uri="{FF2B5EF4-FFF2-40B4-BE49-F238E27FC236}">
                <a16:creationId xmlns:a16="http://schemas.microsoft.com/office/drawing/2014/main" id="{86E0540C-3355-A50D-AC61-047B54B70C6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718457" y="3440504"/>
            <a:ext cx="1719263" cy="1724025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977640" y="2330704"/>
            <a:ext cx="3822192" cy="41148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800" b="1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85032" y="2877312"/>
            <a:ext cx="3741928" cy="3684588"/>
          </a:xfrm>
        </p:spPr>
        <p:txBody>
          <a:bodyPr lIns="45720" rIns="45720" bIns="45720">
            <a:noAutofit/>
          </a:bodyPr>
          <a:lstStyle>
            <a:lvl1pPr>
              <a:defRPr sz="1500"/>
            </a:lvl1pPr>
            <a:lvl2pPr>
              <a:defRPr sz="13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8046720" y="2330704"/>
            <a:ext cx="3822192" cy="41148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800" b="1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7754112" y="2877312"/>
            <a:ext cx="3741928" cy="3684588"/>
          </a:xfrm>
        </p:spPr>
        <p:txBody>
          <a:bodyPr lIns="45720" rIns="45720" bIns="45720">
            <a:noAutofit/>
          </a:bodyPr>
          <a:lstStyle>
            <a:lvl1pPr>
              <a:defRPr sz="1500"/>
            </a:lvl1pPr>
            <a:lvl2pPr>
              <a:defRPr sz="13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103132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445A0A-815D-3414-088B-C041E6742D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8952" y="1234440"/>
            <a:ext cx="10671048" cy="768096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17B5E29-6335-83BC-FA01-FAE422D265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r>
              <a:rPr lang="en-US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36476D1-B61A-E9FD-E266-768B405CC3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48F63A3B-78C7-47BE-AE5E-E10140E0464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C025625F-8274-840F-6DD8-D36687CB8F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3232" y="2743200"/>
            <a:ext cx="3328416" cy="3557016"/>
          </a:xfrm>
          <a:noFill/>
          <a:ln w="12700">
            <a:solidFill>
              <a:schemeClr val="accent3"/>
            </a:solidFill>
          </a:ln>
        </p:spPr>
        <p:txBody>
          <a:bodyPr tIns="685800" anchor="t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 b="1" cap="all" spc="0" baseline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4" name="Picture Placeholder 62">
            <a:extLst>
              <a:ext uri="{FF2B5EF4-FFF2-40B4-BE49-F238E27FC236}">
                <a16:creationId xmlns:a16="http://schemas.microsoft.com/office/drawing/2014/main" id="{2F18FBB7-2D21-7954-1324-C7D3BFE5C85D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>
          <a:xfrm>
            <a:off x="1911096" y="2258568"/>
            <a:ext cx="932688" cy="932688"/>
          </a:xfrm>
          <a:prstGeom prst="ellipse">
            <a:avLst/>
          </a:prstGeom>
          <a:solidFill>
            <a:schemeClr val="accent3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9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2" name="Text Placeholder 51">
            <a:extLst>
              <a:ext uri="{FF2B5EF4-FFF2-40B4-BE49-F238E27FC236}">
                <a16:creationId xmlns:a16="http://schemas.microsoft.com/office/drawing/2014/main" id="{2EF54C35-5F8E-4E0A-AB4D-97E38121910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92124" y="3950208"/>
            <a:ext cx="2770632" cy="2206752"/>
          </a:xfrm>
          <a:noFill/>
        </p:spPr>
        <p:txBody>
          <a:bodyPr lIns="91440" rIns="91440" anchor="t">
            <a:noAutofit/>
          </a:bodyPr>
          <a:lstStyle>
            <a:lvl1pPr marL="347472" indent="-347472" algn="l">
              <a:spcBef>
                <a:spcPts val="360"/>
              </a:spcBef>
              <a:buFont typeface="Arial" panose="020B0604020202020204" pitchFamily="34" charset="0"/>
              <a:buChar char="•"/>
              <a:defRPr sz="15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9" name="Text Placeholder 4">
            <a:extLst>
              <a:ext uri="{FF2B5EF4-FFF2-40B4-BE49-F238E27FC236}">
                <a16:creationId xmlns:a16="http://schemas.microsoft.com/office/drawing/2014/main" id="{084A0326-A0B8-1723-B8BA-B015344F2DC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443984" y="2743200"/>
            <a:ext cx="3328416" cy="3557016"/>
          </a:xfrm>
          <a:noFill/>
          <a:ln w="12700">
            <a:solidFill>
              <a:schemeClr val="accent1"/>
            </a:solidFill>
          </a:ln>
        </p:spPr>
        <p:txBody>
          <a:bodyPr tIns="685800" anchor="t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 b="1" cap="all" spc="0" baseline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6" name="Picture Placeholder 62">
            <a:extLst>
              <a:ext uri="{FF2B5EF4-FFF2-40B4-BE49-F238E27FC236}">
                <a16:creationId xmlns:a16="http://schemas.microsoft.com/office/drawing/2014/main" id="{139354A0-F5DF-3AC5-5E8B-A41146C26F3C}"/>
              </a:ext>
            </a:extLst>
          </p:cNvPr>
          <p:cNvSpPr>
            <a:spLocks noGrp="1" noChangeAspect="1"/>
          </p:cNvSpPr>
          <p:nvPr>
            <p:ph type="pic" sz="quarter" idx="25"/>
          </p:nvPr>
        </p:nvSpPr>
        <p:spPr>
          <a:xfrm>
            <a:off x="5641848" y="2258568"/>
            <a:ext cx="932688" cy="932688"/>
          </a:xfrm>
          <a:prstGeom prst="ellipse">
            <a:avLst/>
          </a:prstGeom>
          <a:solidFill>
            <a:schemeClr val="accent1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9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0" name="Text Placeholder 51">
            <a:extLst>
              <a:ext uri="{FF2B5EF4-FFF2-40B4-BE49-F238E27FC236}">
                <a16:creationId xmlns:a16="http://schemas.microsoft.com/office/drawing/2014/main" id="{E9730E82-F317-686A-8777-D81705BCC70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722876" y="3950208"/>
            <a:ext cx="2770632" cy="2206752"/>
          </a:xfrm>
          <a:noFill/>
        </p:spPr>
        <p:txBody>
          <a:bodyPr lIns="91440" rIns="91440" anchor="t">
            <a:noAutofit/>
          </a:bodyPr>
          <a:lstStyle>
            <a:lvl1pPr marL="347472" indent="-347472" algn="l">
              <a:spcBef>
                <a:spcPts val="360"/>
              </a:spcBef>
              <a:buFont typeface="Arial" panose="020B0604020202020204" pitchFamily="34" charset="0"/>
              <a:buChar char="•"/>
              <a:defRPr sz="15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0" name="Text Placeholder 4">
            <a:extLst>
              <a:ext uri="{FF2B5EF4-FFF2-40B4-BE49-F238E27FC236}">
                <a16:creationId xmlns:a16="http://schemas.microsoft.com/office/drawing/2014/main" id="{0E3B57F3-1903-446F-D989-D6CA342D086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092440" y="2743200"/>
            <a:ext cx="3328416" cy="3557016"/>
          </a:xfrm>
          <a:noFill/>
          <a:ln w="12700">
            <a:solidFill>
              <a:schemeClr val="accent4"/>
            </a:solidFill>
          </a:ln>
        </p:spPr>
        <p:txBody>
          <a:bodyPr tIns="685800" anchor="t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 b="1" cap="all" spc="0" baseline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5" name="Picture Placeholder 62">
            <a:extLst>
              <a:ext uri="{FF2B5EF4-FFF2-40B4-BE49-F238E27FC236}">
                <a16:creationId xmlns:a16="http://schemas.microsoft.com/office/drawing/2014/main" id="{D5BF3A8A-72F1-392E-855B-5B36E244A7FD}"/>
              </a:ext>
            </a:extLst>
          </p:cNvPr>
          <p:cNvSpPr>
            <a:spLocks noGrp="1" noChangeAspect="1"/>
          </p:cNvSpPr>
          <p:nvPr>
            <p:ph type="pic" sz="quarter" idx="24"/>
          </p:nvPr>
        </p:nvSpPr>
        <p:spPr>
          <a:xfrm>
            <a:off x="9290304" y="2258568"/>
            <a:ext cx="932688" cy="932688"/>
          </a:xfrm>
          <a:prstGeom prst="ellipse">
            <a:avLst/>
          </a:prstGeom>
          <a:solidFill>
            <a:schemeClr val="accent4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9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1" name="Text Placeholder 51">
            <a:extLst>
              <a:ext uri="{FF2B5EF4-FFF2-40B4-BE49-F238E27FC236}">
                <a16:creationId xmlns:a16="http://schemas.microsoft.com/office/drawing/2014/main" id="{2AED5DDC-3165-FA12-0310-E3545223E29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371332" y="3950208"/>
            <a:ext cx="2770632" cy="2206752"/>
          </a:xfrm>
          <a:noFill/>
        </p:spPr>
        <p:txBody>
          <a:bodyPr lIns="91440" rIns="91440" anchor="t">
            <a:noAutofit/>
          </a:bodyPr>
          <a:lstStyle>
            <a:lvl1pPr marL="347472" indent="-347472" algn="l">
              <a:spcBef>
                <a:spcPts val="360"/>
              </a:spcBef>
              <a:buFont typeface="Arial" panose="020B0604020202020204" pitchFamily="34" charset="0"/>
              <a:buChar char="•"/>
              <a:defRPr sz="15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6895411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Image 2" descr="preencoded.png">
            <a:extLst>
              <a:ext uri="{FF2B5EF4-FFF2-40B4-BE49-F238E27FC236}">
                <a16:creationId xmlns:a16="http://schemas.microsoft.com/office/drawing/2014/main" id="{ABC388A2-FFC7-1A87-02FB-C97B50161FD3}"/>
              </a:ext>
            </a:extLst>
          </p:cNvPr>
          <p:cNvSpPr/>
          <p:nvPr/>
        </p:nvSpPr>
        <p:spPr>
          <a:xfrm>
            <a:off x="8758238" y="-14287"/>
            <a:ext cx="3433763" cy="3452812"/>
          </a:xfrm>
          <a:custGeom>
            <a:avLst/>
            <a:gdLst>
              <a:gd name="connsiteX0" fmla="*/ 3433763 w 3433763"/>
              <a:gd name="connsiteY0" fmla="*/ 0 h 3452812"/>
              <a:gd name="connsiteX1" fmla="*/ 3433763 w 3433763"/>
              <a:gd name="connsiteY1" fmla="*/ 3452813 h 3452812"/>
              <a:gd name="connsiteX2" fmla="*/ 0 w 3433763"/>
              <a:gd name="connsiteY2" fmla="*/ 3452813 h 3452812"/>
              <a:gd name="connsiteX3" fmla="*/ 3433763 w 3433763"/>
              <a:gd name="connsiteY3" fmla="*/ 0 h 34528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33763" h="3452812">
                <a:moveTo>
                  <a:pt x="3433763" y="0"/>
                </a:moveTo>
                <a:lnTo>
                  <a:pt x="3433763" y="3452813"/>
                </a:lnTo>
                <a:lnTo>
                  <a:pt x="0" y="3452813"/>
                </a:lnTo>
                <a:cubicBezTo>
                  <a:pt x="0" y="1545912"/>
                  <a:pt x="1537383" y="0"/>
                  <a:pt x="3433763" y="0"/>
                </a:cubicBezTo>
                <a:close/>
              </a:path>
            </a:pathLst>
          </a:custGeom>
          <a:solidFill>
            <a:schemeClr val="accent1"/>
          </a:solidFill>
          <a:ln w="4756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5" name="Image 3" descr="preencoded.png">
            <a:extLst>
              <a:ext uri="{FF2B5EF4-FFF2-40B4-BE49-F238E27FC236}">
                <a16:creationId xmlns:a16="http://schemas.microsoft.com/office/drawing/2014/main" id="{D64C4994-B525-F4C0-B74F-D5E8296DFC43}"/>
              </a:ext>
            </a:extLst>
          </p:cNvPr>
          <p:cNvSpPr/>
          <p:nvPr/>
        </p:nvSpPr>
        <p:spPr>
          <a:xfrm>
            <a:off x="8758238" y="3438525"/>
            <a:ext cx="3433763" cy="3433762"/>
          </a:xfrm>
          <a:custGeom>
            <a:avLst/>
            <a:gdLst>
              <a:gd name="connsiteX0" fmla="*/ 0 w 3433763"/>
              <a:gd name="connsiteY0" fmla="*/ 0 h 3433762"/>
              <a:gd name="connsiteX1" fmla="*/ 3433763 w 3433763"/>
              <a:gd name="connsiteY1" fmla="*/ 0 h 3433762"/>
              <a:gd name="connsiteX2" fmla="*/ 3433763 w 3433763"/>
              <a:gd name="connsiteY2" fmla="*/ 3433763 h 3433762"/>
              <a:gd name="connsiteX3" fmla="*/ 0 w 3433763"/>
              <a:gd name="connsiteY3" fmla="*/ 0 h 34337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33763" h="3433762">
                <a:moveTo>
                  <a:pt x="0" y="0"/>
                </a:moveTo>
                <a:lnTo>
                  <a:pt x="3433763" y="0"/>
                </a:lnTo>
                <a:lnTo>
                  <a:pt x="3433763" y="3433763"/>
                </a:lnTo>
                <a:cubicBezTo>
                  <a:pt x="1537383" y="3433763"/>
                  <a:pt x="0" y="1896380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756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6" name="Image 4" descr="preencoded.png">
            <a:extLst>
              <a:ext uri="{FF2B5EF4-FFF2-40B4-BE49-F238E27FC236}">
                <a16:creationId xmlns:a16="http://schemas.microsoft.com/office/drawing/2014/main" id="{9019DA73-2516-F3D2-ECDB-620C90483DB3}"/>
              </a:ext>
            </a:extLst>
          </p:cNvPr>
          <p:cNvSpPr/>
          <p:nvPr/>
        </p:nvSpPr>
        <p:spPr>
          <a:xfrm flipV="1">
            <a:off x="9991725" y="1247775"/>
            <a:ext cx="2200275" cy="2181225"/>
          </a:xfrm>
          <a:custGeom>
            <a:avLst/>
            <a:gdLst>
              <a:gd name="connsiteX0" fmla="*/ 0 w 2200275"/>
              <a:gd name="connsiteY0" fmla="*/ 0 h 2181225"/>
              <a:gd name="connsiteX1" fmla="*/ 2200275 w 2200275"/>
              <a:gd name="connsiteY1" fmla="*/ 2181225 h 2181225"/>
              <a:gd name="connsiteX2" fmla="*/ 2200275 w 2200275"/>
              <a:gd name="connsiteY2" fmla="*/ 0 h 2181225"/>
              <a:gd name="connsiteX3" fmla="*/ 0 w 2200275"/>
              <a:gd name="connsiteY3" fmla="*/ 0 h 2181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00275" h="2181225">
                <a:moveTo>
                  <a:pt x="0" y="0"/>
                </a:moveTo>
                <a:cubicBezTo>
                  <a:pt x="0" y="1204689"/>
                  <a:pt x="985061" y="2181225"/>
                  <a:pt x="2200275" y="2181225"/>
                </a:cubicBezTo>
                <a:lnTo>
                  <a:pt x="2200275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 w="4763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3" name="Image 7" descr="preencoded.png">
            <a:extLst>
              <a:ext uri="{FF2B5EF4-FFF2-40B4-BE49-F238E27FC236}">
                <a16:creationId xmlns:a16="http://schemas.microsoft.com/office/drawing/2014/main" id="{FEA70E9F-C506-413C-11EF-5915A2296643}"/>
              </a:ext>
            </a:extLst>
          </p:cNvPr>
          <p:cNvSpPr/>
          <p:nvPr/>
        </p:nvSpPr>
        <p:spPr>
          <a:xfrm flipV="1">
            <a:off x="-20086" y="4580051"/>
            <a:ext cx="2277948" cy="2277948"/>
          </a:xfrm>
          <a:custGeom>
            <a:avLst/>
            <a:gdLst>
              <a:gd name="connsiteX0" fmla="*/ 0 w 2277948"/>
              <a:gd name="connsiteY0" fmla="*/ 2277948 h 2277948"/>
              <a:gd name="connsiteX1" fmla="*/ 2277948 w 2277948"/>
              <a:gd name="connsiteY1" fmla="*/ 0 h 2277948"/>
              <a:gd name="connsiteX2" fmla="*/ 0 w 2277948"/>
              <a:gd name="connsiteY2" fmla="*/ 0 h 2277948"/>
              <a:gd name="connsiteX3" fmla="*/ 0 w 2277948"/>
              <a:gd name="connsiteY3" fmla="*/ 2277948 h 22779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77948" h="2277948">
                <a:moveTo>
                  <a:pt x="0" y="2277948"/>
                </a:moveTo>
                <a:cubicBezTo>
                  <a:pt x="1258034" y="2277948"/>
                  <a:pt x="2277948" y="1258034"/>
                  <a:pt x="2277948" y="0"/>
                </a:cubicBezTo>
                <a:lnTo>
                  <a:pt x="0" y="0"/>
                </a:lnTo>
                <a:lnTo>
                  <a:pt x="0" y="2277948"/>
                </a:lnTo>
                <a:close/>
              </a:path>
            </a:pathLst>
          </a:custGeom>
          <a:solidFill>
            <a:schemeClr val="accent4"/>
          </a:solidFill>
          <a:ln w="5083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pic>
        <p:nvPicPr>
          <p:cNvPr id="21" name="Image 2" descr="preencoded.png">
            <a:extLst>
              <a:ext uri="{FF2B5EF4-FFF2-40B4-BE49-F238E27FC236}">
                <a16:creationId xmlns:a16="http://schemas.microsoft.com/office/drawing/2014/main" id="{A8B7F1F1-806C-8D65-7340-220A0C4653C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9991886" y="3441269"/>
            <a:ext cx="2200114" cy="2200114"/>
          </a:xfrm>
          <a:prstGeom prst="rect">
            <a:avLst/>
          </a:prstGeom>
        </p:spPr>
      </p:pic>
      <p:sp>
        <p:nvSpPr>
          <p:cNvPr id="54" name="Image 2" descr="preencoded.png">
            <a:extLst>
              <a:ext uri="{FF2B5EF4-FFF2-40B4-BE49-F238E27FC236}">
                <a16:creationId xmlns:a16="http://schemas.microsoft.com/office/drawing/2014/main" id="{F19C81EC-0322-58A2-C455-6E2C84D1E6E8}"/>
              </a:ext>
            </a:extLst>
          </p:cNvPr>
          <p:cNvSpPr/>
          <p:nvPr/>
        </p:nvSpPr>
        <p:spPr>
          <a:xfrm>
            <a:off x="1707959" y="5667616"/>
            <a:ext cx="775021" cy="775021"/>
          </a:xfrm>
          <a:custGeom>
            <a:avLst/>
            <a:gdLst>
              <a:gd name="connsiteX0" fmla="*/ 387511 w 775021"/>
              <a:gd name="connsiteY0" fmla="*/ 775021 h 775021"/>
              <a:gd name="connsiteX1" fmla="*/ 775021 w 775021"/>
              <a:gd name="connsiteY1" fmla="*/ 387511 h 775021"/>
              <a:gd name="connsiteX2" fmla="*/ 387511 w 775021"/>
              <a:gd name="connsiteY2" fmla="*/ 0 h 775021"/>
              <a:gd name="connsiteX3" fmla="*/ 0 w 775021"/>
              <a:gd name="connsiteY3" fmla="*/ 387511 h 775021"/>
              <a:gd name="connsiteX4" fmla="*/ 387511 w 775021"/>
              <a:gd name="connsiteY4" fmla="*/ 775021 h 7750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75021" h="775021">
                <a:moveTo>
                  <a:pt x="387511" y="775021"/>
                </a:moveTo>
                <a:cubicBezTo>
                  <a:pt x="601527" y="775021"/>
                  <a:pt x="775021" y="601527"/>
                  <a:pt x="775021" y="387511"/>
                </a:cubicBezTo>
                <a:cubicBezTo>
                  <a:pt x="775021" y="173494"/>
                  <a:pt x="601527" y="0"/>
                  <a:pt x="387511" y="0"/>
                </a:cubicBezTo>
                <a:cubicBezTo>
                  <a:pt x="173494" y="0"/>
                  <a:pt x="0" y="173494"/>
                  <a:pt x="0" y="387511"/>
                </a:cubicBezTo>
                <a:cubicBezTo>
                  <a:pt x="0" y="601527"/>
                  <a:pt x="173494" y="775021"/>
                  <a:pt x="387511" y="775021"/>
                </a:cubicBezTo>
                <a:close/>
              </a:path>
            </a:pathLst>
          </a:custGeom>
          <a:solidFill>
            <a:schemeClr val="accent6"/>
          </a:solidFill>
          <a:ln w="3801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08760" y="1883664"/>
            <a:ext cx="6766560" cy="768096"/>
          </a:xfrm>
        </p:spPr>
        <p:txBody>
          <a:bodyPr>
            <a:noAutofit/>
          </a:bodyPr>
          <a:lstStyle>
            <a:lvl1pPr algn="l">
              <a:lnSpc>
                <a:spcPct val="100000"/>
              </a:lnSpc>
              <a:defRPr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08760" y="2837688"/>
            <a:ext cx="5879592" cy="2700528"/>
          </a:xfrm>
        </p:spPr>
        <p:txBody>
          <a:bodyPr>
            <a:noAutofit/>
          </a:bodyPr>
          <a:lstStyle>
            <a:lvl1pPr marL="0" indent="0">
              <a:buNone/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1F9FD95-086F-282B-820C-8CDAD4A6EEB6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424848579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losing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AEF1F750-031C-BDB7-BD7B-9CBE17406FDB}"/>
              </a:ext>
            </a:extLst>
          </p:cNvPr>
          <p:cNvSpPr/>
          <p:nvPr userDrawn="1"/>
        </p:nvSpPr>
        <p:spPr>
          <a:xfrm>
            <a:off x="0" y="0"/>
            <a:ext cx="8948738" cy="6858000"/>
          </a:xfrm>
          <a:custGeom>
            <a:avLst/>
            <a:gdLst>
              <a:gd name="connsiteX0" fmla="*/ 0 w 8948738"/>
              <a:gd name="connsiteY0" fmla="*/ 0 h 6858000"/>
              <a:gd name="connsiteX1" fmla="*/ 5932941 w 8948738"/>
              <a:gd name="connsiteY1" fmla="*/ 0 h 6858000"/>
              <a:gd name="connsiteX2" fmla="*/ 6047310 w 8948738"/>
              <a:gd name="connsiteY2" fmla="*/ 14613 h 6858000"/>
              <a:gd name="connsiteX3" fmla="*/ 8948738 w 8948738"/>
              <a:gd name="connsiteY3" fmla="*/ 3416480 h 6858000"/>
              <a:gd name="connsiteX4" fmla="*/ 5702202 w 8948738"/>
              <a:gd name="connsiteY4" fmla="*/ 6853523 h 6858000"/>
              <a:gd name="connsiteX5" fmla="*/ 5526113 w 8948738"/>
              <a:gd name="connsiteY5" fmla="*/ 6858000 h 6858000"/>
              <a:gd name="connsiteX6" fmla="*/ 0 w 8948738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8738" h="6858000">
                <a:moveTo>
                  <a:pt x="0" y="0"/>
                </a:moveTo>
                <a:lnTo>
                  <a:pt x="5932941" y="0"/>
                </a:lnTo>
                <a:lnTo>
                  <a:pt x="6047310" y="14613"/>
                </a:lnTo>
                <a:cubicBezTo>
                  <a:pt x="7690210" y="267026"/>
                  <a:pt x="8948738" y="1693971"/>
                  <a:pt x="8948738" y="3416480"/>
                </a:cubicBezTo>
                <a:cubicBezTo>
                  <a:pt x="8948738" y="5257788"/>
                  <a:pt x="7510634" y="6761349"/>
                  <a:pt x="5702202" y="6853523"/>
                </a:cubicBezTo>
                <a:lnTo>
                  <a:pt x="552611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476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>
              <a:solidFill>
                <a:schemeClr val="tx1"/>
              </a:solidFill>
            </a:endParaRPr>
          </a:p>
        </p:txBody>
      </p:sp>
      <p:sp>
        <p:nvSpPr>
          <p:cNvPr id="19" name="Freeform: Shape 18" descr="preencoded.png">
            <a:extLst>
              <a:ext uri="{FF2B5EF4-FFF2-40B4-BE49-F238E27FC236}">
                <a16:creationId xmlns:a16="http://schemas.microsoft.com/office/drawing/2014/main" id="{FEB515B5-2D9F-58E1-6E3C-CCBF105D891E}"/>
              </a:ext>
            </a:extLst>
          </p:cNvPr>
          <p:cNvSpPr/>
          <p:nvPr userDrawn="1"/>
        </p:nvSpPr>
        <p:spPr>
          <a:xfrm>
            <a:off x="7538626" y="13142"/>
            <a:ext cx="4653374" cy="6831717"/>
          </a:xfrm>
          <a:custGeom>
            <a:avLst/>
            <a:gdLst>
              <a:gd name="connsiteX0" fmla="*/ 3416476 w 4653374"/>
              <a:gd name="connsiteY0" fmla="*/ 0 h 6831717"/>
              <a:gd name="connsiteX1" fmla="*/ 4653374 w 4653374"/>
              <a:gd name="connsiteY1" fmla="*/ 0 h 6831717"/>
              <a:gd name="connsiteX2" fmla="*/ 4653374 w 4653374"/>
              <a:gd name="connsiteY2" fmla="*/ 6831717 h 6831717"/>
              <a:gd name="connsiteX3" fmla="*/ 3416476 w 4653374"/>
              <a:gd name="connsiteY3" fmla="*/ 6831717 h 6831717"/>
              <a:gd name="connsiteX4" fmla="*/ 0 w 4653374"/>
              <a:gd name="connsiteY4" fmla="*/ 3415863 h 6831717"/>
              <a:gd name="connsiteX5" fmla="*/ 3416476 w 4653374"/>
              <a:gd name="connsiteY5" fmla="*/ 0 h 68317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653374" h="6831717">
                <a:moveTo>
                  <a:pt x="3416476" y="0"/>
                </a:moveTo>
                <a:lnTo>
                  <a:pt x="4653374" y="0"/>
                </a:lnTo>
                <a:lnTo>
                  <a:pt x="4653374" y="6831717"/>
                </a:lnTo>
                <a:lnTo>
                  <a:pt x="3416476" y="6831717"/>
                </a:lnTo>
                <a:cubicBezTo>
                  <a:pt x="1529612" y="6831717"/>
                  <a:pt x="0" y="5302406"/>
                  <a:pt x="0" y="3415863"/>
                </a:cubicBezTo>
                <a:cubicBezTo>
                  <a:pt x="0" y="1529335"/>
                  <a:pt x="1529607" y="0"/>
                  <a:pt x="3416476" y="0"/>
                </a:cubicBezTo>
                <a:close/>
              </a:path>
            </a:pathLst>
          </a:custGeom>
          <a:solidFill>
            <a:schemeClr val="accent1"/>
          </a:solidFill>
          <a:ln w="477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pic>
        <p:nvPicPr>
          <p:cNvPr id="9" name="Image 2" descr="preencoded.png">
            <a:extLst>
              <a:ext uri="{FF2B5EF4-FFF2-40B4-BE49-F238E27FC236}">
                <a16:creationId xmlns:a16="http://schemas.microsoft.com/office/drawing/2014/main" id="{5CCFEDF9-5B69-87BA-8A33-35033DA4013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737234" y="-25041"/>
            <a:ext cx="3432191" cy="343219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7048" y="1975104"/>
            <a:ext cx="4169664" cy="667512"/>
          </a:xfrm>
        </p:spPr>
        <p:txBody>
          <a:bodyPr tIns="0" anchor="ctr">
            <a:noAutofit/>
          </a:bodyPr>
          <a:lstStyle>
            <a:lvl1pPr algn="l">
              <a:defRPr sz="4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45336" y="2846832"/>
            <a:ext cx="4169664" cy="2176272"/>
          </a:xfrm>
        </p:spPr>
        <p:txBody>
          <a:bodyPr lIns="91440" tIns="0" rIns="91440" bIns="0">
            <a:noAutofit/>
          </a:bodyPr>
          <a:lstStyle>
            <a:lvl1pPr marL="0" indent="0" algn="l">
              <a:spcBef>
                <a:spcPts val="576"/>
              </a:spcBef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37289882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mage 0" descr="preencoded.png">
            <a:extLst>
              <a:ext uri="{FF2B5EF4-FFF2-40B4-BE49-F238E27FC236}">
                <a16:creationId xmlns:a16="http://schemas.microsoft.com/office/drawing/2014/main" id="{8D5D10FF-3DE5-39CA-FA9A-29A09DC47BFC}"/>
              </a:ext>
            </a:extLst>
          </p:cNvPr>
          <p:cNvSpPr/>
          <p:nvPr userDrawn="1"/>
        </p:nvSpPr>
        <p:spPr>
          <a:xfrm>
            <a:off x="-5568" y="-2784"/>
            <a:ext cx="3443288" cy="6891337"/>
          </a:xfrm>
          <a:custGeom>
            <a:avLst/>
            <a:gdLst>
              <a:gd name="connsiteX0" fmla="*/ 3443288 w 3443288"/>
              <a:gd name="connsiteY0" fmla="*/ 0 h 6891337"/>
              <a:gd name="connsiteX1" fmla="*/ 0 w 3443288"/>
              <a:gd name="connsiteY1" fmla="*/ 0 h 6891337"/>
              <a:gd name="connsiteX2" fmla="*/ 0 w 3443288"/>
              <a:gd name="connsiteY2" fmla="*/ 6891338 h 6891337"/>
              <a:gd name="connsiteX3" fmla="*/ 3443288 w 3443288"/>
              <a:gd name="connsiteY3" fmla="*/ 6891338 h 6891337"/>
              <a:gd name="connsiteX4" fmla="*/ 3443288 w 3443288"/>
              <a:gd name="connsiteY4" fmla="*/ 0 h 68913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43288" h="6891337">
                <a:moveTo>
                  <a:pt x="3443288" y="0"/>
                </a:moveTo>
                <a:lnTo>
                  <a:pt x="0" y="0"/>
                </a:lnTo>
                <a:lnTo>
                  <a:pt x="0" y="6891338"/>
                </a:lnTo>
                <a:lnTo>
                  <a:pt x="3443288" y="6891338"/>
                </a:lnTo>
                <a:lnTo>
                  <a:pt x="3443288" y="0"/>
                </a:lnTo>
                <a:close/>
              </a:path>
            </a:pathLst>
          </a:custGeom>
          <a:solidFill>
            <a:schemeClr val="accent3"/>
          </a:solidFill>
          <a:ln w="4756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endParaRPr lang="en-US"/>
          </a:p>
        </p:txBody>
      </p:sp>
      <p:pic>
        <p:nvPicPr>
          <p:cNvPr id="11" name="Image 1" descr="preencoded.png">
            <a:extLst>
              <a:ext uri="{FF2B5EF4-FFF2-40B4-BE49-F238E27FC236}">
                <a16:creationId xmlns:a16="http://schemas.microsoft.com/office/drawing/2014/main" id="{BFA89E6A-8342-AE30-45E0-BC1DFE3276C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703311" y="-2784"/>
            <a:ext cx="1734410" cy="5167313"/>
          </a:xfrm>
          <a:prstGeom prst="rect">
            <a:avLst/>
          </a:prstGeom>
        </p:spPr>
      </p:pic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A08309FA-889A-E2F2-1EDA-F872245F5FDF}"/>
              </a:ext>
            </a:extLst>
          </p:cNvPr>
          <p:cNvSpPr/>
          <p:nvPr userDrawn="1"/>
        </p:nvSpPr>
        <p:spPr>
          <a:xfrm>
            <a:off x="1721621" y="-2784"/>
            <a:ext cx="1716115" cy="1720853"/>
          </a:xfrm>
          <a:custGeom>
            <a:avLst/>
            <a:gdLst>
              <a:gd name="connsiteX0" fmla="*/ 93358 w 1716115"/>
              <a:gd name="connsiteY0" fmla="*/ 0 h 1720853"/>
              <a:gd name="connsiteX1" fmla="*/ 110348 w 1716115"/>
              <a:gd name="connsiteY1" fmla="*/ 0 h 1720853"/>
              <a:gd name="connsiteX2" fmla="*/ 1716029 w 1716115"/>
              <a:gd name="connsiteY2" fmla="*/ 1610112 h 1720853"/>
              <a:gd name="connsiteX3" fmla="*/ 1716029 w 1716115"/>
              <a:gd name="connsiteY3" fmla="*/ 1627151 h 1720853"/>
              <a:gd name="connsiteX4" fmla="*/ 1716115 w 1716115"/>
              <a:gd name="connsiteY4" fmla="*/ 1627237 h 1720853"/>
              <a:gd name="connsiteX5" fmla="*/ 93358 w 1716115"/>
              <a:gd name="connsiteY5" fmla="*/ 0 h 1720853"/>
              <a:gd name="connsiteX6" fmla="*/ 0 w 1716115"/>
              <a:gd name="connsiteY6" fmla="*/ 0 h 1720853"/>
              <a:gd name="connsiteX7" fmla="*/ 16989 w 1716115"/>
              <a:gd name="connsiteY7" fmla="*/ 0 h 1720853"/>
              <a:gd name="connsiteX8" fmla="*/ 1716114 w 1716115"/>
              <a:gd name="connsiteY8" fmla="*/ 1703814 h 1720853"/>
              <a:gd name="connsiteX9" fmla="*/ 1716114 w 1716115"/>
              <a:gd name="connsiteY9" fmla="*/ 1720853 h 1720853"/>
              <a:gd name="connsiteX10" fmla="*/ 0 w 1716115"/>
              <a:gd name="connsiteY10" fmla="*/ 0 h 1720853"/>
              <a:gd name="connsiteX11" fmla="*/ 186798 w 1716115"/>
              <a:gd name="connsiteY11" fmla="*/ 0 h 1720853"/>
              <a:gd name="connsiteX12" fmla="*/ 203788 w 1716115"/>
              <a:gd name="connsiteY12" fmla="*/ 0 h 1720853"/>
              <a:gd name="connsiteX13" fmla="*/ 1716109 w 1716115"/>
              <a:gd name="connsiteY13" fmla="*/ 1516501 h 1720853"/>
              <a:gd name="connsiteX14" fmla="*/ 1716109 w 1716115"/>
              <a:gd name="connsiteY14" fmla="*/ 1533535 h 1720853"/>
              <a:gd name="connsiteX15" fmla="*/ 186798 w 1716115"/>
              <a:gd name="connsiteY15" fmla="*/ 0 h 1720853"/>
              <a:gd name="connsiteX16" fmla="*/ 280155 w 1716115"/>
              <a:gd name="connsiteY16" fmla="*/ 0 h 1720853"/>
              <a:gd name="connsiteX17" fmla="*/ 297145 w 1716115"/>
              <a:gd name="connsiteY17" fmla="*/ 0 h 1720853"/>
              <a:gd name="connsiteX18" fmla="*/ 1716114 w 1716115"/>
              <a:gd name="connsiteY18" fmla="*/ 1422885 h 1720853"/>
              <a:gd name="connsiteX19" fmla="*/ 1716114 w 1716115"/>
              <a:gd name="connsiteY19" fmla="*/ 1439924 h 1720853"/>
              <a:gd name="connsiteX20" fmla="*/ 280155 w 1716115"/>
              <a:gd name="connsiteY20" fmla="*/ 0 h 1720853"/>
              <a:gd name="connsiteX21" fmla="*/ 373512 w 1716115"/>
              <a:gd name="connsiteY21" fmla="*/ 0 h 1720853"/>
              <a:gd name="connsiteX22" fmla="*/ 390502 w 1716115"/>
              <a:gd name="connsiteY22" fmla="*/ 0 h 1720853"/>
              <a:gd name="connsiteX23" fmla="*/ 1716029 w 1716115"/>
              <a:gd name="connsiteY23" fmla="*/ 1329184 h 1720853"/>
              <a:gd name="connsiteX24" fmla="*/ 1716029 w 1716115"/>
              <a:gd name="connsiteY24" fmla="*/ 1346223 h 1720853"/>
              <a:gd name="connsiteX25" fmla="*/ 1716114 w 1716115"/>
              <a:gd name="connsiteY25" fmla="*/ 1346308 h 1720853"/>
              <a:gd name="connsiteX26" fmla="*/ 373512 w 1716115"/>
              <a:gd name="connsiteY26" fmla="*/ 0 h 1720853"/>
              <a:gd name="connsiteX27" fmla="*/ 466953 w 1716115"/>
              <a:gd name="connsiteY27" fmla="*/ 0 h 1720853"/>
              <a:gd name="connsiteX28" fmla="*/ 483944 w 1716115"/>
              <a:gd name="connsiteY28" fmla="*/ 0 h 1720853"/>
              <a:gd name="connsiteX29" fmla="*/ 1716110 w 1716115"/>
              <a:gd name="connsiteY29" fmla="*/ 1235573 h 1720853"/>
              <a:gd name="connsiteX30" fmla="*/ 1716110 w 1716115"/>
              <a:gd name="connsiteY30" fmla="*/ 1252607 h 1720853"/>
              <a:gd name="connsiteX31" fmla="*/ 466953 w 1716115"/>
              <a:gd name="connsiteY31" fmla="*/ 0 h 1720853"/>
              <a:gd name="connsiteX32" fmla="*/ 560310 w 1716115"/>
              <a:gd name="connsiteY32" fmla="*/ 0 h 1720853"/>
              <a:gd name="connsiteX33" fmla="*/ 577297 w 1716115"/>
              <a:gd name="connsiteY33" fmla="*/ 0 h 1720853"/>
              <a:gd name="connsiteX34" fmla="*/ 1716109 w 1716115"/>
              <a:gd name="connsiteY34" fmla="*/ 1141957 h 1720853"/>
              <a:gd name="connsiteX35" fmla="*/ 1716109 w 1716115"/>
              <a:gd name="connsiteY35" fmla="*/ 1158991 h 1720853"/>
              <a:gd name="connsiteX36" fmla="*/ 560310 w 1716115"/>
              <a:gd name="connsiteY36" fmla="*/ 0 h 1720853"/>
              <a:gd name="connsiteX37" fmla="*/ 653668 w 1716115"/>
              <a:gd name="connsiteY37" fmla="*/ 0 h 1720853"/>
              <a:gd name="connsiteX38" fmla="*/ 670655 w 1716115"/>
              <a:gd name="connsiteY38" fmla="*/ 0 h 1720853"/>
              <a:gd name="connsiteX39" fmla="*/ 1716029 w 1716115"/>
              <a:gd name="connsiteY39" fmla="*/ 1048255 h 1720853"/>
              <a:gd name="connsiteX40" fmla="*/ 1716029 w 1716115"/>
              <a:gd name="connsiteY40" fmla="*/ 1065294 h 1720853"/>
              <a:gd name="connsiteX41" fmla="*/ 1716114 w 1716115"/>
              <a:gd name="connsiteY41" fmla="*/ 1065380 h 1720853"/>
              <a:gd name="connsiteX42" fmla="*/ 653668 w 1716115"/>
              <a:gd name="connsiteY42" fmla="*/ 0 h 1720853"/>
              <a:gd name="connsiteX43" fmla="*/ 747112 w 1716115"/>
              <a:gd name="connsiteY43" fmla="*/ 0 h 1720853"/>
              <a:gd name="connsiteX44" fmla="*/ 764104 w 1716115"/>
              <a:gd name="connsiteY44" fmla="*/ 0 h 1720853"/>
              <a:gd name="connsiteX45" fmla="*/ 1716115 w 1716115"/>
              <a:gd name="connsiteY45" fmla="*/ 954644 h 1720853"/>
              <a:gd name="connsiteX46" fmla="*/ 1716115 w 1716115"/>
              <a:gd name="connsiteY46" fmla="*/ 971678 h 1720853"/>
              <a:gd name="connsiteX47" fmla="*/ 747112 w 1716115"/>
              <a:gd name="connsiteY47" fmla="*/ 0 h 1720853"/>
              <a:gd name="connsiteX48" fmla="*/ 840465 w 1716115"/>
              <a:gd name="connsiteY48" fmla="*/ 0 h 1720853"/>
              <a:gd name="connsiteX49" fmla="*/ 857452 w 1716115"/>
              <a:gd name="connsiteY49" fmla="*/ 0 h 1720853"/>
              <a:gd name="connsiteX50" fmla="*/ 1716109 w 1716115"/>
              <a:gd name="connsiteY50" fmla="*/ 861028 h 1720853"/>
              <a:gd name="connsiteX51" fmla="*/ 1716109 w 1716115"/>
              <a:gd name="connsiteY51" fmla="*/ 878062 h 1720853"/>
              <a:gd name="connsiteX52" fmla="*/ 840465 w 1716115"/>
              <a:gd name="connsiteY52" fmla="*/ 0 h 1720853"/>
              <a:gd name="connsiteX53" fmla="*/ 933823 w 1716115"/>
              <a:gd name="connsiteY53" fmla="*/ 0 h 1720853"/>
              <a:gd name="connsiteX54" fmla="*/ 950810 w 1716115"/>
              <a:gd name="connsiteY54" fmla="*/ 0 h 1720853"/>
              <a:gd name="connsiteX55" fmla="*/ 1716114 w 1716115"/>
              <a:gd name="connsiteY55" fmla="*/ 767327 h 1720853"/>
              <a:gd name="connsiteX56" fmla="*/ 1716114 w 1716115"/>
              <a:gd name="connsiteY56" fmla="*/ 784366 h 1720853"/>
              <a:gd name="connsiteX57" fmla="*/ 1716114 w 1716115"/>
              <a:gd name="connsiteY57" fmla="*/ 784451 h 1720853"/>
              <a:gd name="connsiteX58" fmla="*/ 933823 w 1716115"/>
              <a:gd name="connsiteY58" fmla="*/ 0 h 1720853"/>
              <a:gd name="connsiteX59" fmla="*/ 1027262 w 1716115"/>
              <a:gd name="connsiteY59" fmla="*/ 0 h 1720853"/>
              <a:gd name="connsiteX60" fmla="*/ 1044254 w 1716115"/>
              <a:gd name="connsiteY60" fmla="*/ 0 h 1720853"/>
              <a:gd name="connsiteX61" fmla="*/ 1716110 w 1716115"/>
              <a:gd name="connsiteY61" fmla="*/ 673716 h 1720853"/>
              <a:gd name="connsiteX62" fmla="*/ 1716110 w 1716115"/>
              <a:gd name="connsiteY62" fmla="*/ 690750 h 1720853"/>
              <a:gd name="connsiteX63" fmla="*/ 1027262 w 1716115"/>
              <a:gd name="connsiteY63" fmla="*/ 0 h 1720853"/>
              <a:gd name="connsiteX64" fmla="*/ 1120625 w 1716115"/>
              <a:gd name="connsiteY64" fmla="*/ 0 h 1720853"/>
              <a:gd name="connsiteX65" fmla="*/ 1137612 w 1716115"/>
              <a:gd name="connsiteY65" fmla="*/ 0 h 1720853"/>
              <a:gd name="connsiteX66" fmla="*/ 1716115 w 1716115"/>
              <a:gd name="connsiteY66" fmla="*/ 580100 h 1720853"/>
              <a:gd name="connsiteX67" fmla="*/ 1716115 w 1716115"/>
              <a:gd name="connsiteY67" fmla="*/ 597134 h 1720853"/>
              <a:gd name="connsiteX68" fmla="*/ 1120625 w 1716115"/>
              <a:gd name="connsiteY68" fmla="*/ 0 h 1720853"/>
              <a:gd name="connsiteX69" fmla="*/ 1213978 w 1716115"/>
              <a:gd name="connsiteY69" fmla="*/ 0 h 1720853"/>
              <a:gd name="connsiteX70" fmla="*/ 1230965 w 1716115"/>
              <a:gd name="connsiteY70" fmla="*/ 0 h 1720853"/>
              <a:gd name="connsiteX71" fmla="*/ 1716109 w 1716115"/>
              <a:gd name="connsiteY71" fmla="*/ 486398 h 1720853"/>
              <a:gd name="connsiteX72" fmla="*/ 1716109 w 1716115"/>
              <a:gd name="connsiteY72" fmla="*/ 503437 h 1720853"/>
              <a:gd name="connsiteX73" fmla="*/ 1716109 w 1716115"/>
              <a:gd name="connsiteY73" fmla="*/ 503523 h 1720853"/>
              <a:gd name="connsiteX74" fmla="*/ 1213978 w 1716115"/>
              <a:gd name="connsiteY74" fmla="*/ 0 h 1720853"/>
              <a:gd name="connsiteX75" fmla="*/ 1307422 w 1716115"/>
              <a:gd name="connsiteY75" fmla="*/ 0 h 1720853"/>
              <a:gd name="connsiteX76" fmla="*/ 1324414 w 1716115"/>
              <a:gd name="connsiteY76" fmla="*/ 0 h 1720853"/>
              <a:gd name="connsiteX77" fmla="*/ 1716115 w 1716115"/>
              <a:gd name="connsiteY77" fmla="*/ 392784 h 1720853"/>
              <a:gd name="connsiteX78" fmla="*/ 1716115 w 1716115"/>
              <a:gd name="connsiteY78" fmla="*/ 409821 h 1720853"/>
              <a:gd name="connsiteX79" fmla="*/ 1307422 w 1716115"/>
              <a:gd name="connsiteY79" fmla="*/ 0 h 1720853"/>
              <a:gd name="connsiteX80" fmla="*/ 1400775 w 1716115"/>
              <a:gd name="connsiteY80" fmla="*/ 0 h 1720853"/>
              <a:gd name="connsiteX81" fmla="*/ 1417762 w 1716115"/>
              <a:gd name="connsiteY81" fmla="*/ 0 h 1720853"/>
              <a:gd name="connsiteX82" fmla="*/ 1716109 w 1716115"/>
              <a:gd name="connsiteY82" fmla="*/ 299170 h 1720853"/>
              <a:gd name="connsiteX83" fmla="*/ 1716109 w 1716115"/>
              <a:gd name="connsiteY83" fmla="*/ 316207 h 1720853"/>
              <a:gd name="connsiteX84" fmla="*/ 1400775 w 1716115"/>
              <a:gd name="connsiteY84" fmla="*/ 0 h 1720853"/>
              <a:gd name="connsiteX85" fmla="*/ 1494133 w 1716115"/>
              <a:gd name="connsiteY85" fmla="*/ 0 h 1720853"/>
              <a:gd name="connsiteX86" fmla="*/ 1511120 w 1716115"/>
              <a:gd name="connsiteY86" fmla="*/ 0 h 1720853"/>
              <a:gd name="connsiteX87" fmla="*/ 1716109 w 1716115"/>
              <a:gd name="connsiteY87" fmla="*/ 205556 h 1720853"/>
              <a:gd name="connsiteX88" fmla="*/ 1716109 w 1716115"/>
              <a:gd name="connsiteY88" fmla="*/ 222592 h 1720853"/>
              <a:gd name="connsiteX89" fmla="*/ 1494133 w 1716115"/>
              <a:gd name="connsiteY89" fmla="*/ 0 h 17208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</a:cxnLst>
            <a:rect l="l" t="t" r="r" b="b"/>
            <a:pathLst>
              <a:path w="1716115" h="1720853">
                <a:moveTo>
                  <a:pt x="93358" y="0"/>
                </a:moveTo>
                <a:lnTo>
                  <a:pt x="110348" y="0"/>
                </a:lnTo>
                <a:cubicBezTo>
                  <a:pt x="110348" y="887874"/>
                  <a:pt x="830686" y="1610112"/>
                  <a:pt x="1716029" y="1610112"/>
                </a:cubicBezTo>
                <a:lnTo>
                  <a:pt x="1716029" y="1627151"/>
                </a:lnTo>
                <a:lnTo>
                  <a:pt x="1716115" y="1627237"/>
                </a:lnTo>
                <a:cubicBezTo>
                  <a:pt x="821334" y="1627237"/>
                  <a:pt x="93358" y="897252"/>
                  <a:pt x="93358" y="0"/>
                </a:cubicBezTo>
                <a:close/>
                <a:moveTo>
                  <a:pt x="0" y="0"/>
                </a:moveTo>
                <a:lnTo>
                  <a:pt x="16989" y="0"/>
                </a:lnTo>
                <a:cubicBezTo>
                  <a:pt x="16989" y="939499"/>
                  <a:pt x="779202" y="1703814"/>
                  <a:pt x="1716114" y="1703814"/>
                </a:cubicBezTo>
                <a:lnTo>
                  <a:pt x="1716114" y="1720853"/>
                </a:lnTo>
                <a:cubicBezTo>
                  <a:pt x="769850" y="1720853"/>
                  <a:pt x="0" y="948877"/>
                  <a:pt x="0" y="0"/>
                </a:cubicBezTo>
                <a:close/>
                <a:moveTo>
                  <a:pt x="186798" y="0"/>
                </a:moveTo>
                <a:lnTo>
                  <a:pt x="203788" y="0"/>
                </a:lnTo>
                <a:cubicBezTo>
                  <a:pt x="203788" y="836248"/>
                  <a:pt x="882254" y="1516501"/>
                  <a:pt x="1716109" y="1516501"/>
                </a:cubicBezTo>
                <a:lnTo>
                  <a:pt x="1716109" y="1533535"/>
                </a:lnTo>
                <a:cubicBezTo>
                  <a:pt x="872812" y="1533535"/>
                  <a:pt x="186798" y="845626"/>
                  <a:pt x="186798" y="0"/>
                </a:cubicBezTo>
                <a:close/>
                <a:moveTo>
                  <a:pt x="280155" y="0"/>
                </a:moveTo>
                <a:lnTo>
                  <a:pt x="297145" y="0"/>
                </a:lnTo>
                <a:cubicBezTo>
                  <a:pt x="297145" y="784537"/>
                  <a:pt x="933652" y="1422885"/>
                  <a:pt x="1716114" y="1422885"/>
                </a:cubicBezTo>
                <a:lnTo>
                  <a:pt x="1716114" y="1439924"/>
                </a:lnTo>
                <a:cubicBezTo>
                  <a:pt x="924300" y="1439924"/>
                  <a:pt x="280155" y="794001"/>
                  <a:pt x="280155" y="0"/>
                </a:cubicBezTo>
                <a:close/>
                <a:moveTo>
                  <a:pt x="373512" y="0"/>
                </a:moveTo>
                <a:lnTo>
                  <a:pt x="390502" y="0"/>
                </a:lnTo>
                <a:cubicBezTo>
                  <a:pt x="390502" y="732911"/>
                  <a:pt x="985135" y="1329184"/>
                  <a:pt x="1716029" y="1329184"/>
                </a:cubicBezTo>
                <a:lnTo>
                  <a:pt x="1716029" y="1346223"/>
                </a:lnTo>
                <a:lnTo>
                  <a:pt x="1716114" y="1346308"/>
                </a:lnTo>
                <a:cubicBezTo>
                  <a:pt x="975783" y="1346308"/>
                  <a:pt x="373512" y="742375"/>
                  <a:pt x="373512" y="0"/>
                </a:cubicBezTo>
                <a:close/>
                <a:moveTo>
                  <a:pt x="466953" y="0"/>
                </a:moveTo>
                <a:lnTo>
                  <a:pt x="483944" y="0"/>
                </a:lnTo>
                <a:cubicBezTo>
                  <a:pt x="483944" y="681286"/>
                  <a:pt x="1036704" y="1235573"/>
                  <a:pt x="1716110" y="1235573"/>
                </a:cubicBezTo>
                <a:lnTo>
                  <a:pt x="1716110" y="1252607"/>
                </a:lnTo>
                <a:cubicBezTo>
                  <a:pt x="1027347" y="1252607"/>
                  <a:pt x="466953" y="690664"/>
                  <a:pt x="466953" y="0"/>
                </a:cubicBezTo>
                <a:close/>
                <a:moveTo>
                  <a:pt x="560310" y="0"/>
                </a:moveTo>
                <a:lnTo>
                  <a:pt x="577297" y="0"/>
                </a:lnTo>
                <a:cubicBezTo>
                  <a:pt x="577297" y="629660"/>
                  <a:pt x="1088188" y="1141957"/>
                  <a:pt x="1716109" y="1141957"/>
                </a:cubicBezTo>
                <a:lnTo>
                  <a:pt x="1716109" y="1158991"/>
                </a:lnTo>
                <a:cubicBezTo>
                  <a:pt x="1078835" y="1158991"/>
                  <a:pt x="560310" y="639038"/>
                  <a:pt x="560310" y="0"/>
                </a:cubicBezTo>
                <a:close/>
                <a:moveTo>
                  <a:pt x="653668" y="0"/>
                </a:moveTo>
                <a:lnTo>
                  <a:pt x="670655" y="0"/>
                </a:lnTo>
                <a:cubicBezTo>
                  <a:pt x="670655" y="578035"/>
                  <a:pt x="1139586" y="1048255"/>
                  <a:pt x="1716029" y="1048255"/>
                </a:cubicBezTo>
                <a:lnTo>
                  <a:pt x="1716029" y="1065294"/>
                </a:lnTo>
                <a:lnTo>
                  <a:pt x="1716114" y="1065380"/>
                </a:lnTo>
                <a:cubicBezTo>
                  <a:pt x="1130319" y="1065380"/>
                  <a:pt x="653668" y="587499"/>
                  <a:pt x="653668" y="0"/>
                </a:cubicBezTo>
                <a:close/>
                <a:moveTo>
                  <a:pt x="747112" y="0"/>
                </a:moveTo>
                <a:lnTo>
                  <a:pt x="764104" y="0"/>
                </a:lnTo>
                <a:cubicBezTo>
                  <a:pt x="764104" y="526409"/>
                  <a:pt x="1191155" y="954644"/>
                  <a:pt x="1716115" y="954644"/>
                </a:cubicBezTo>
                <a:lnTo>
                  <a:pt x="1716115" y="971678"/>
                </a:lnTo>
                <a:cubicBezTo>
                  <a:pt x="1181802" y="971678"/>
                  <a:pt x="747112" y="535787"/>
                  <a:pt x="747112" y="0"/>
                </a:cubicBezTo>
                <a:close/>
                <a:moveTo>
                  <a:pt x="840465" y="0"/>
                </a:moveTo>
                <a:lnTo>
                  <a:pt x="857452" y="0"/>
                </a:lnTo>
                <a:cubicBezTo>
                  <a:pt x="857452" y="474783"/>
                  <a:pt x="1242638" y="861028"/>
                  <a:pt x="1716109" y="861028"/>
                </a:cubicBezTo>
                <a:lnTo>
                  <a:pt x="1716109" y="878062"/>
                </a:lnTo>
                <a:cubicBezTo>
                  <a:pt x="1233281" y="878062"/>
                  <a:pt x="840465" y="484162"/>
                  <a:pt x="840465" y="0"/>
                </a:cubicBezTo>
                <a:close/>
                <a:moveTo>
                  <a:pt x="933823" y="0"/>
                </a:moveTo>
                <a:lnTo>
                  <a:pt x="950810" y="0"/>
                </a:lnTo>
                <a:cubicBezTo>
                  <a:pt x="950810" y="423157"/>
                  <a:pt x="1294121" y="767327"/>
                  <a:pt x="1716114" y="767327"/>
                </a:cubicBezTo>
                <a:lnTo>
                  <a:pt x="1716114" y="784366"/>
                </a:lnTo>
                <a:lnTo>
                  <a:pt x="1716114" y="784451"/>
                </a:lnTo>
                <a:cubicBezTo>
                  <a:pt x="1284769" y="784451"/>
                  <a:pt x="933823" y="432536"/>
                  <a:pt x="933823" y="0"/>
                </a:cubicBezTo>
                <a:close/>
                <a:moveTo>
                  <a:pt x="1027262" y="0"/>
                </a:moveTo>
                <a:lnTo>
                  <a:pt x="1044254" y="0"/>
                </a:lnTo>
                <a:cubicBezTo>
                  <a:pt x="1044254" y="371532"/>
                  <a:pt x="1345685" y="673716"/>
                  <a:pt x="1716110" y="673716"/>
                </a:cubicBezTo>
                <a:lnTo>
                  <a:pt x="1716110" y="690750"/>
                </a:lnTo>
                <a:cubicBezTo>
                  <a:pt x="1336248" y="690750"/>
                  <a:pt x="1027262" y="380824"/>
                  <a:pt x="1027262" y="0"/>
                </a:cubicBezTo>
                <a:close/>
                <a:moveTo>
                  <a:pt x="1120625" y="0"/>
                </a:moveTo>
                <a:lnTo>
                  <a:pt x="1137612" y="0"/>
                </a:lnTo>
                <a:cubicBezTo>
                  <a:pt x="1137612" y="319820"/>
                  <a:pt x="1397088" y="580100"/>
                  <a:pt x="1716115" y="580100"/>
                </a:cubicBezTo>
                <a:lnTo>
                  <a:pt x="1716115" y="597134"/>
                </a:lnTo>
                <a:cubicBezTo>
                  <a:pt x="1387736" y="597134"/>
                  <a:pt x="1120625" y="329285"/>
                  <a:pt x="1120625" y="0"/>
                </a:cubicBezTo>
                <a:close/>
                <a:moveTo>
                  <a:pt x="1213978" y="0"/>
                </a:moveTo>
                <a:lnTo>
                  <a:pt x="1230965" y="0"/>
                </a:lnTo>
                <a:cubicBezTo>
                  <a:pt x="1230965" y="268195"/>
                  <a:pt x="1448571" y="486398"/>
                  <a:pt x="1716109" y="486398"/>
                </a:cubicBezTo>
                <a:lnTo>
                  <a:pt x="1716109" y="503437"/>
                </a:lnTo>
                <a:lnTo>
                  <a:pt x="1716109" y="503523"/>
                </a:lnTo>
                <a:cubicBezTo>
                  <a:pt x="1439214" y="503523"/>
                  <a:pt x="1213978" y="277659"/>
                  <a:pt x="1213978" y="0"/>
                </a:cubicBezTo>
                <a:close/>
                <a:moveTo>
                  <a:pt x="1307422" y="0"/>
                </a:moveTo>
                <a:lnTo>
                  <a:pt x="1324414" y="0"/>
                </a:lnTo>
                <a:cubicBezTo>
                  <a:pt x="1324414" y="216569"/>
                  <a:pt x="1500141" y="392784"/>
                  <a:pt x="1716115" y="392784"/>
                </a:cubicBezTo>
                <a:lnTo>
                  <a:pt x="1716115" y="409821"/>
                </a:lnTo>
                <a:cubicBezTo>
                  <a:pt x="1490703" y="409821"/>
                  <a:pt x="1307422" y="225948"/>
                  <a:pt x="1307422" y="0"/>
                </a:cubicBezTo>
                <a:close/>
                <a:moveTo>
                  <a:pt x="1400775" y="0"/>
                </a:moveTo>
                <a:lnTo>
                  <a:pt x="1417762" y="0"/>
                </a:lnTo>
                <a:cubicBezTo>
                  <a:pt x="1417762" y="164944"/>
                  <a:pt x="1551619" y="299170"/>
                  <a:pt x="1716109" y="299170"/>
                </a:cubicBezTo>
                <a:lnTo>
                  <a:pt x="1716109" y="316207"/>
                </a:lnTo>
                <a:cubicBezTo>
                  <a:pt x="1542266" y="316207"/>
                  <a:pt x="1400775" y="174322"/>
                  <a:pt x="1400775" y="0"/>
                </a:cubicBezTo>
                <a:close/>
                <a:moveTo>
                  <a:pt x="1494133" y="0"/>
                </a:moveTo>
                <a:lnTo>
                  <a:pt x="1511120" y="0"/>
                </a:lnTo>
                <a:cubicBezTo>
                  <a:pt x="1511120" y="113318"/>
                  <a:pt x="1603017" y="205556"/>
                  <a:pt x="1716109" y="205556"/>
                </a:cubicBezTo>
                <a:lnTo>
                  <a:pt x="1716109" y="222592"/>
                </a:lnTo>
                <a:cubicBezTo>
                  <a:pt x="1593750" y="222592"/>
                  <a:pt x="1494133" y="122783"/>
                  <a:pt x="1494133" y="0"/>
                </a:cubicBezTo>
                <a:close/>
              </a:path>
            </a:pathLst>
          </a:custGeom>
          <a:solidFill>
            <a:schemeClr val="bg1">
              <a:alpha val="99000"/>
            </a:schemeClr>
          </a:solidFill>
          <a:ln w="4723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5" name="Image 5" descr="preencoded.png">
            <a:extLst>
              <a:ext uri="{FF2B5EF4-FFF2-40B4-BE49-F238E27FC236}">
                <a16:creationId xmlns:a16="http://schemas.microsoft.com/office/drawing/2014/main" id="{D9D7EB49-4BC9-040F-C4CC-5771C5FB312B}"/>
              </a:ext>
            </a:extLst>
          </p:cNvPr>
          <p:cNvSpPr/>
          <p:nvPr userDrawn="1"/>
        </p:nvSpPr>
        <p:spPr>
          <a:xfrm>
            <a:off x="-5568" y="3440504"/>
            <a:ext cx="3443288" cy="3448050"/>
          </a:xfrm>
          <a:custGeom>
            <a:avLst/>
            <a:gdLst>
              <a:gd name="connsiteX0" fmla="*/ 1721644 w 3443288"/>
              <a:gd name="connsiteY0" fmla="*/ 3448051 h 3448050"/>
              <a:gd name="connsiteX1" fmla="*/ 3443288 w 3443288"/>
              <a:gd name="connsiteY1" fmla="*/ 1724025 h 3448050"/>
              <a:gd name="connsiteX2" fmla="*/ 1721644 w 3443288"/>
              <a:gd name="connsiteY2" fmla="*/ 0 h 3448050"/>
              <a:gd name="connsiteX3" fmla="*/ 0 w 3443288"/>
              <a:gd name="connsiteY3" fmla="*/ 1724025 h 3448050"/>
              <a:gd name="connsiteX4" fmla="*/ 1721644 w 3443288"/>
              <a:gd name="connsiteY4" fmla="*/ 3448051 h 3448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43288" h="3448050">
                <a:moveTo>
                  <a:pt x="1721644" y="3448051"/>
                </a:moveTo>
                <a:cubicBezTo>
                  <a:pt x="2672482" y="3448051"/>
                  <a:pt x="3443288" y="2676178"/>
                  <a:pt x="3443288" y="1724025"/>
                </a:cubicBezTo>
                <a:cubicBezTo>
                  <a:pt x="3443288" y="771873"/>
                  <a:pt x="2672482" y="0"/>
                  <a:pt x="1721644" y="0"/>
                </a:cubicBezTo>
                <a:cubicBezTo>
                  <a:pt x="770806" y="0"/>
                  <a:pt x="0" y="771873"/>
                  <a:pt x="0" y="1724025"/>
                </a:cubicBezTo>
                <a:cubicBezTo>
                  <a:pt x="0" y="2676178"/>
                  <a:pt x="770806" y="3448051"/>
                  <a:pt x="1721644" y="3448051"/>
                </a:cubicBezTo>
                <a:close/>
              </a:path>
            </a:pathLst>
          </a:custGeom>
          <a:solidFill>
            <a:schemeClr val="accent6"/>
          </a:solidFill>
          <a:ln w="4756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endParaRPr lang="en-US"/>
          </a:p>
        </p:txBody>
      </p:sp>
      <p:pic>
        <p:nvPicPr>
          <p:cNvPr id="17" name="Image 6" descr="preencoded.png">
            <a:extLst>
              <a:ext uri="{FF2B5EF4-FFF2-40B4-BE49-F238E27FC236}">
                <a16:creationId xmlns:a16="http://schemas.microsoft.com/office/drawing/2014/main" id="{3CE04498-C285-EFB8-340C-1A064078152B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718457" y="3440504"/>
            <a:ext cx="1719263" cy="1724025"/>
          </a:xfrm>
          <a:prstGeom prst="rect">
            <a:avLst/>
          </a:prstGeom>
        </p:spPr>
      </p:pic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  <p:sp>
        <p:nvSpPr>
          <p:cNvPr id="18" name="Title 19">
            <a:extLst>
              <a:ext uri="{FF2B5EF4-FFF2-40B4-BE49-F238E27FC236}">
                <a16:creationId xmlns:a16="http://schemas.microsoft.com/office/drawing/2014/main" id="{9CBE0ADC-7FA0-F7E3-96EF-BBACB6A907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86784" y="1243584"/>
            <a:ext cx="8165592" cy="768096"/>
          </a:xfrm>
        </p:spPr>
        <p:txBody>
          <a:bodyPr>
            <a:noAutofit/>
          </a:bodyPr>
          <a:lstStyle>
            <a:lvl1pPr algn="l">
              <a:lnSpc>
                <a:spcPct val="10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0F9C0517-D83A-CC55-35B8-B2F990C96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685032" y="2255520"/>
            <a:ext cx="3741928" cy="4306380"/>
          </a:xfrm>
        </p:spPr>
        <p:txBody>
          <a:bodyPr lIns="45720" rIns="45720" bIns="45720">
            <a:noAutofit/>
          </a:bodyPr>
          <a:lstStyle>
            <a:lvl1pPr>
              <a:defRPr sz="1500"/>
            </a:lvl1pPr>
            <a:lvl2pPr>
              <a:defRPr sz="13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Content Placeholder 5">
            <a:extLst>
              <a:ext uri="{FF2B5EF4-FFF2-40B4-BE49-F238E27FC236}">
                <a16:creationId xmlns:a16="http://schemas.microsoft.com/office/drawing/2014/main" id="{CF8BFBBE-0EAE-B647-2648-A5FB0094BF6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7754112" y="2255520"/>
            <a:ext cx="3741928" cy="4306380"/>
          </a:xfrm>
        </p:spPr>
        <p:txBody>
          <a:bodyPr lIns="45720" rIns="45720" bIns="45720">
            <a:noAutofit/>
          </a:bodyPr>
          <a:lstStyle>
            <a:lvl1pPr>
              <a:defRPr sz="1500"/>
            </a:lvl1pPr>
            <a:lvl2pPr>
              <a:defRPr sz="13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5083212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:a16="http://schemas.microsoft.com/office/drawing/2014/main" id="{2C6B5F91-ABF5-D0B6-E43F-40CEDC3A6DF8}"/>
              </a:ext>
            </a:extLst>
          </p:cNvPr>
          <p:cNvSpPr/>
          <p:nvPr userDrawn="1"/>
        </p:nvSpPr>
        <p:spPr>
          <a:xfrm>
            <a:off x="1" y="0"/>
            <a:ext cx="2242827" cy="2102966"/>
          </a:xfrm>
          <a:custGeom>
            <a:avLst/>
            <a:gdLst>
              <a:gd name="connsiteX0" fmla="*/ 2220549 w 2242827"/>
              <a:gd name="connsiteY0" fmla="*/ 0 h 2102966"/>
              <a:gd name="connsiteX1" fmla="*/ 2242827 w 2242827"/>
              <a:gd name="connsiteY1" fmla="*/ 0 h 2102966"/>
              <a:gd name="connsiteX2" fmla="*/ 2238641 w 2242827"/>
              <a:gd name="connsiteY2" fmla="*/ 82607 h 2102966"/>
              <a:gd name="connsiteX3" fmla="*/ 1 w 2242827"/>
              <a:gd name="connsiteY3" fmla="*/ 2102966 h 2102966"/>
              <a:gd name="connsiteX4" fmla="*/ 1 w 2242827"/>
              <a:gd name="connsiteY4" fmla="*/ 2080690 h 2102966"/>
              <a:gd name="connsiteX5" fmla="*/ 2216479 w 2242827"/>
              <a:gd name="connsiteY5" fmla="*/ 80336 h 2102966"/>
              <a:gd name="connsiteX6" fmla="*/ 2098030 w 2242827"/>
              <a:gd name="connsiteY6" fmla="*/ 0 h 2102966"/>
              <a:gd name="connsiteX7" fmla="*/ 2120412 w 2242827"/>
              <a:gd name="connsiteY7" fmla="*/ 0 h 2102966"/>
              <a:gd name="connsiteX8" fmla="*/ 2116859 w 2242827"/>
              <a:gd name="connsiteY8" fmla="*/ 70117 h 2102966"/>
              <a:gd name="connsiteX9" fmla="*/ 1 w 2242827"/>
              <a:gd name="connsiteY9" fmla="*/ 1980571 h 2102966"/>
              <a:gd name="connsiteX10" fmla="*/ 1 w 2242827"/>
              <a:gd name="connsiteY10" fmla="*/ 1958295 h 2102966"/>
              <a:gd name="connsiteX11" fmla="*/ 2094588 w 2242827"/>
              <a:gd name="connsiteY11" fmla="*/ 67938 h 2102966"/>
              <a:gd name="connsiteX12" fmla="*/ 1975608 w 2242827"/>
              <a:gd name="connsiteY12" fmla="*/ 0 h 2102966"/>
              <a:gd name="connsiteX13" fmla="*/ 1997887 w 2242827"/>
              <a:gd name="connsiteY13" fmla="*/ 0 h 2102966"/>
              <a:gd name="connsiteX14" fmla="*/ 1994968 w 2242827"/>
              <a:gd name="connsiteY14" fmla="*/ 57611 h 2102966"/>
              <a:gd name="connsiteX15" fmla="*/ 1 w 2242827"/>
              <a:gd name="connsiteY15" fmla="*/ 1858047 h 2102966"/>
              <a:gd name="connsiteX16" fmla="*/ 1 w 2242827"/>
              <a:gd name="connsiteY16" fmla="*/ 1835771 h 2102966"/>
              <a:gd name="connsiteX17" fmla="*/ 1972805 w 2242827"/>
              <a:gd name="connsiteY17" fmla="*/ 55322 h 2102966"/>
              <a:gd name="connsiteX18" fmla="*/ 1853193 w 2242827"/>
              <a:gd name="connsiteY18" fmla="*/ 0 h 2102966"/>
              <a:gd name="connsiteX19" fmla="*/ 1875472 w 2242827"/>
              <a:gd name="connsiteY19" fmla="*/ 0 h 2102966"/>
              <a:gd name="connsiteX20" fmla="*/ 1873186 w 2242827"/>
              <a:gd name="connsiteY20" fmla="*/ 45119 h 2102966"/>
              <a:gd name="connsiteX21" fmla="*/ 0 w 2242827"/>
              <a:gd name="connsiteY21" fmla="*/ 1735650 h 2102966"/>
              <a:gd name="connsiteX22" fmla="*/ 0 w 2242827"/>
              <a:gd name="connsiteY22" fmla="*/ 1713374 h 2102966"/>
              <a:gd name="connsiteX23" fmla="*/ 1851022 w 2242827"/>
              <a:gd name="connsiteY23" fmla="*/ 42848 h 2102966"/>
              <a:gd name="connsiteX24" fmla="*/ 1730668 w 2242827"/>
              <a:gd name="connsiteY24" fmla="*/ 0 h 2102966"/>
              <a:gd name="connsiteX25" fmla="*/ 1753056 w 2242827"/>
              <a:gd name="connsiteY25" fmla="*/ 0 h 2102966"/>
              <a:gd name="connsiteX26" fmla="*/ 1751404 w 2242827"/>
              <a:gd name="connsiteY26" fmla="*/ 32610 h 2102966"/>
              <a:gd name="connsiteX27" fmla="*/ 0 w 2242827"/>
              <a:gd name="connsiteY27" fmla="*/ 1613232 h 2102966"/>
              <a:gd name="connsiteX28" fmla="*/ 0 w 2242827"/>
              <a:gd name="connsiteY28" fmla="*/ 1590961 h 2102966"/>
              <a:gd name="connsiteX29" fmla="*/ 1729127 w 2242827"/>
              <a:gd name="connsiteY29" fmla="*/ 30432 h 2102966"/>
              <a:gd name="connsiteX30" fmla="*/ 1608247 w 2242827"/>
              <a:gd name="connsiteY30" fmla="*/ 0 h 2102966"/>
              <a:gd name="connsiteX31" fmla="*/ 1630525 w 2242827"/>
              <a:gd name="connsiteY31" fmla="*/ 0 h 2102966"/>
              <a:gd name="connsiteX32" fmla="*/ 1629507 w 2242827"/>
              <a:gd name="connsiteY32" fmla="*/ 20086 h 2102966"/>
              <a:gd name="connsiteX33" fmla="*/ 0 w 2242827"/>
              <a:gd name="connsiteY33" fmla="*/ 1490712 h 2102966"/>
              <a:gd name="connsiteX34" fmla="*/ 0 w 2242827"/>
              <a:gd name="connsiteY34" fmla="*/ 1468436 h 2102966"/>
              <a:gd name="connsiteX35" fmla="*/ 1607345 w 2242827"/>
              <a:gd name="connsiteY35" fmla="*/ 17816 h 2102966"/>
              <a:gd name="connsiteX36" fmla="*/ 1485833 w 2242827"/>
              <a:gd name="connsiteY36" fmla="*/ 0 h 2102966"/>
              <a:gd name="connsiteX37" fmla="*/ 1508109 w 2242827"/>
              <a:gd name="connsiteY37" fmla="*/ 0 h 2102966"/>
              <a:gd name="connsiteX38" fmla="*/ 1507724 w 2242827"/>
              <a:gd name="connsiteY38" fmla="*/ 7596 h 2102966"/>
              <a:gd name="connsiteX39" fmla="*/ 0 w 2242827"/>
              <a:gd name="connsiteY39" fmla="*/ 1368317 h 2102966"/>
              <a:gd name="connsiteX40" fmla="*/ 0 w 2242827"/>
              <a:gd name="connsiteY40" fmla="*/ 1346041 h 2102966"/>
              <a:gd name="connsiteX41" fmla="*/ 1485563 w 2242827"/>
              <a:gd name="connsiteY41" fmla="*/ 5325 h 2102966"/>
              <a:gd name="connsiteX42" fmla="*/ 1362591 w 2242827"/>
              <a:gd name="connsiteY42" fmla="*/ 0 h 2102966"/>
              <a:gd name="connsiteX43" fmla="*/ 1385194 w 2242827"/>
              <a:gd name="connsiteY43" fmla="*/ 0 h 2102966"/>
              <a:gd name="connsiteX44" fmla="*/ 1364797 w 2242827"/>
              <a:gd name="connsiteY44" fmla="*/ 133264 h 2102966"/>
              <a:gd name="connsiteX45" fmla="*/ 0 w 2242827"/>
              <a:gd name="connsiteY45" fmla="*/ 1245917 h 2102966"/>
              <a:gd name="connsiteX46" fmla="*/ 0 w 2242827"/>
              <a:gd name="connsiteY46" fmla="*/ 1223641 h 2102966"/>
              <a:gd name="connsiteX47" fmla="*/ 1342864 w 2242827"/>
              <a:gd name="connsiteY47" fmla="*/ 128894 h 2102966"/>
              <a:gd name="connsiteX48" fmla="*/ 1238878 w 2242827"/>
              <a:gd name="connsiteY48" fmla="*/ 0 h 2102966"/>
              <a:gd name="connsiteX49" fmla="*/ 1261388 w 2242827"/>
              <a:gd name="connsiteY49" fmla="*/ 0 h 2102966"/>
              <a:gd name="connsiteX50" fmla="*/ 1244763 w 2242827"/>
              <a:gd name="connsiteY50" fmla="*/ 108614 h 2102966"/>
              <a:gd name="connsiteX51" fmla="*/ 0 w 2242827"/>
              <a:gd name="connsiteY51" fmla="*/ 1123397 h 2102966"/>
              <a:gd name="connsiteX52" fmla="*/ 0 w 2242827"/>
              <a:gd name="connsiteY52" fmla="*/ 1101121 h 2102966"/>
              <a:gd name="connsiteX53" fmla="*/ 1222940 w 2242827"/>
              <a:gd name="connsiteY53" fmla="*/ 104135 h 2102966"/>
              <a:gd name="connsiteX54" fmla="*/ 1115178 w 2242827"/>
              <a:gd name="connsiteY54" fmla="*/ 0 h 2102966"/>
              <a:gd name="connsiteX55" fmla="*/ 1137688 w 2242827"/>
              <a:gd name="connsiteY55" fmla="*/ 0 h 2102966"/>
              <a:gd name="connsiteX56" fmla="*/ 1124836 w 2242827"/>
              <a:gd name="connsiteY56" fmla="*/ 83962 h 2102966"/>
              <a:gd name="connsiteX57" fmla="*/ 0 w 2242827"/>
              <a:gd name="connsiteY57" fmla="*/ 1000978 h 2102966"/>
              <a:gd name="connsiteX58" fmla="*/ 0 w 2242827"/>
              <a:gd name="connsiteY58" fmla="*/ 978703 h 2102966"/>
              <a:gd name="connsiteX59" fmla="*/ 1103012 w 2242827"/>
              <a:gd name="connsiteY59" fmla="*/ 79485 h 2102966"/>
              <a:gd name="connsiteX60" fmla="*/ 991375 w 2242827"/>
              <a:gd name="connsiteY60" fmla="*/ 0 h 2102966"/>
              <a:gd name="connsiteX61" fmla="*/ 1013997 w 2242827"/>
              <a:gd name="connsiteY61" fmla="*/ 0 h 2102966"/>
              <a:gd name="connsiteX62" fmla="*/ 1004915 w 2242827"/>
              <a:gd name="connsiteY62" fmla="*/ 59331 h 2102966"/>
              <a:gd name="connsiteX63" fmla="*/ 0 w 2242827"/>
              <a:gd name="connsiteY63" fmla="*/ 878583 h 2102966"/>
              <a:gd name="connsiteX64" fmla="*/ 0 w 2242827"/>
              <a:gd name="connsiteY64" fmla="*/ 856307 h 2102966"/>
              <a:gd name="connsiteX65" fmla="*/ 982981 w 2242827"/>
              <a:gd name="connsiteY65" fmla="*/ 54853 h 2102966"/>
              <a:gd name="connsiteX66" fmla="*/ 866108 w 2242827"/>
              <a:gd name="connsiteY66" fmla="*/ 0 h 2102966"/>
              <a:gd name="connsiteX67" fmla="*/ 888384 w 2242827"/>
              <a:gd name="connsiteY67" fmla="*/ 0 h 2102966"/>
              <a:gd name="connsiteX68" fmla="*/ 884876 w 2242827"/>
              <a:gd name="connsiteY68" fmla="*/ 34680 h 2102966"/>
              <a:gd name="connsiteX69" fmla="*/ 0 w 2242827"/>
              <a:gd name="connsiteY69" fmla="*/ 756058 h 2102966"/>
              <a:gd name="connsiteX70" fmla="*/ 0 w 2242827"/>
              <a:gd name="connsiteY70" fmla="*/ 733782 h 2102966"/>
              <a:gd name="connsiteX71" fmla="*/ 863057 w 2242827"/>
              <a:gd name="connsiteY71" fmla="*/ 30169 h 2102966"/>
              <a:gd name="connsiteX72" fmla="*/ 743692 w 2242827"/>
              <a:gd name="connsiteY72" fmla="*/ 0 h 2102966"/>
              <a:gd name="connsiteX73" fmla="*/ 765973 w 2242827"/>
              <a:gd name="connsiteY73" fmla="*/ 0 h 2102966"/>
              <a:gd name="connsiteX74" fmla="*/ 764957 w 2242827"/>
              <a:gd name="connsiteY74" fmla="*/ 10048 h 2102966"/>
              <a:gd name="connsiteX75" fmla="*/ 0 w 2242827"/>
              <a:gd name="connsiteY75" fmla="*/ 633662 h 2102966"/>
              <a:gd name="connsiteX76" fmla="*/ 0 w 2242827"/>
              <a:gd name="connsiteY76" fmla="*/ 611386 h 2102966"/>
              <a:gd name="connsiteX77" fmla="*/ 743129 w 2242827"/>
              <a:gd name="connsiteY77" fmla="*/ 5570 h 2102966"/>
              <a:gd name="connsiteX78" fmla="*/ 617163 w 2242827"/>
              <a:gd name="connsiteY78" fmla="*/ 0 h 2102966"/>
              <a:gd name="connsiteX79" fmla="*/ 640489 w 2242827"/>
              <a:gd name="connsiteY79" fmla="*/ 0 h 2102966"/>
              <a:gd name="connsiteX80" fmla="*/ 606611 w 2242827"/>
              <a:gd name="connsiteY80" fmla="*/ 108906 h 2102966"/>
              <a:gd name="connsiteX81" fmla="*/ 0 w 2242827"/>
              <a:gd name="connsiteY81" fmla="*/ 511248 h 2102966"/>
              <a:gd name="connsiteX82" fmla="*/ 0 w 2242827"/>
              <a:gd name="connsiteY82" fmla="*/ 488972 h 2102966"/>
              <a:gd name="connsiteX83" fmla="*/ 585980 w 2242827"/>
              <a:gd name="connsiteY83" fmla="*/ 100252 h 2102966"/>
              <a:gd name="connsiteX84" fmla="*/ 489561 w 2242827"/>
              <a:gd name="connsiteY84" fmla="*/ 0 h 2102966"/>
              <a:gd name="connsiteX85" fmla="*/ 512789 w 2242827"/>
              <a:gd name="connsiteY85" fmla="*/ 0 h 2102966"/>
              <a:gd name="connsiteX86" fmla="*/ 493721 w 2242827"/>
              <a:gd name="connsiteY86" fmla="*/ 61289 h 2102966"/>
              <a:gd name="connsiteX87" fmla="*/ 0 w 2242827"/>
              <a:gd name="connsiteY87" fmla="*/ 388735 h 2102966"/>
              <a:gd name="connsiteX88" fmla="*/ 0 w 2242827"/>
              <a:gd name="connsiteY88" fmla="*/ 366459 h 2102966"/>
              <a:gd name="connsiteX89" fmla="*/ 473199 w 2242827"/>
              <a:gd name="connsiteY89" fmla="*/ 52587 h 2102966"/>
              <a:gd name="connsiteX90" fmla="*/ 361966 w 2242827"/>
              <a:gd name="connsiteY90" fmla="*/ 0 h 2102966"/>
              <a:gd name="connsiteX91" fmla="*/ 385181 w 2242827"/>
              <a:gd name="connsiteY91" fmla="*/ 0 h 2102966"/>
              <a:gd name="connsiteX92" fmla="*/ 380937 w 2242827"/>
              <a:gd name="connsiteY92" fmla="*/ 13636 h 2102966"/>
              <a:gd name="connsiteX93" fmla="*/ 0 w 2242827"/>
              <a:gd name="connsiteY93" fmla="*/ 266328 h 2102966"/>
              <a:gd name="connsiteX94" fmla="*/ 0 w 2242827"/>
              <a:gd name="connsiteY94" fmla="*/ 244052 h 2102966"/>
              <a:gd name="connsiteX95" fmla="*/ 360416 w 2242827"/>
              <a:gd name="connsiteY95" fmla="*/ 4982 h 2102966"/>
              <a:gd name="connsiteX96" fmla="*/ 218905 w 2242827"/>
              <a:gd name="connsiteY96" fmla="*/ 0 h 2102966"/>
              <a:gd name="connsiteX97" fmla="*/ 249720 w 2242827"/>
              <a:gd name="connsiteY97" fmla="*/ 0 h 2102966"/>
              <a:gd name="connsiteX98" fmla="*/ 241311 w 2242827"/>
              <a:gd name="connsiteY98" fmla="*/ 15475 h 2102966"/>
              <a:gd name="connsiteX99" fmla="*/ 0 w 2242827"/>
              <a:gd name="connsiteY99" fmla="*/ 143932 h 2102966"/>
              <a:gd name="connsiteX100" fmla="*/ 0 w 2242827"/>
              <a:gd name="connsiteY100" fmla="*/ 121656 h 2102966"/>
              <a:gd name="connsiteX101" fmla="*/ 189966 w 2242827"/>
              <a:gd name="connsiteY101" fmla="*/ 42875 h 21029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</a:cxnLst>
            <a:rect l="l" t="t" r="r" b="b"/>
            <a:pathLst>
              <a:path w="2242827" h="2102966">
                <a:moveTo>
                  <a:pt x="2220549" y="0"/>
                </a:moveTo>
                <a:lnTo>
                  <a:pt x="2242827" y="0"/>
                </a:lnTo>
                <a:lnTo>
                  <a:pt x="2238641" y="82607"/>
                </a:lnTo>
                <a:cubicBezTo>
                  <a:pt x="2123193" y="1215807"/>
                  <a:pt x="1163255" y="2102966"/>
                  <a:pt x="1" y="2102966"/>
                </a:cubicBezTo>
                <a:lnTo>
                  <a:pt x="1" y="2080690"/>
                </a:lnTo>
                <a:cubicBezTo>
                  <a:pt x="1151759" y="2080690"/>
                  <a:pt x="2102176" y="1202330"/>
                  <a:pt x="2216479" y="80336"/>
                </a:cubicBezTo>
                <a:close/>
                <a:moveTo>
                  <a:pt x="2098030" y="0"/>
                </a:moveTo>
                <a:lnTo>
                  <a:pt x="2120412" y="0"/>
                </a:lnTo>
                <a:lnTo>
                  <a:pt x="2116859" y="70117"/>
                </a:lnTo>
                <a:cubicBezTo>
                  <a:pt x="2007691" y="1141666"/>
                  <a:pt x="1099966" y="1980571"/>
                  <a:pt x="1" y="1980571"/>
                </a:cubicBezTo>
                <a:lnTo>
                  <a:pt x="1" y="1958295"/>
                </a:lnTo>
                <a:cubicBezTo>
                  <a:pt x="1088470" y="1958295"/>
                  <a:pt x="1986577" y="1128187"/>
                  <a:pt x="2094588" y="67938"/>
                </a:cubicBezTo>
                <a:close/>
                <a:moveTo>
                  <a:pt x="1975608" y="0"/>
                </a:moveTo>
                <a:lnTo>
                  <a:pt x="1997887" y="0"/>
                </a:lnTo>
                <a:lnTo>
                  <a:pt x="1994968" y="57611"/>
                </a:lnTo>
                <a:cubicBezTo>
                  <a:pt x="1892090" y="1067493"/>
                  <a:pt x="1036676" y="1858047"/>
                  <a:pt x="1" y="1858047"/>
                </a:cubicBezTo>
                <a:lnTo>
                  <a:pt x="1" y="1835771"/>
                </a:lnTo>
                <a:cubicBezTo>
                  <a:pt x="1025181" y="1835771"/>
                  <a:pt x="1871073" y="1053919"/>
                  <a:pt x="1972805" y="55322"/>
                </a:cubicBezTo>
                <a:close/>
                <a:moveTo>
                  <a:pt x="1853193" y="0"/>
                </a:moveTo>
                <a:lnTo>
                  <a:pt x="1875472" y="0"/>
                </a:lnTo>
                <a:lnTo>
                  <a:pt x="1873186" y="45119"/>
                </a:lnTo>
                <a:cubicBezTo>
                  <a:pt x="1776588" y="993350"/>
                  <a:pt x="973388" y="1735650"/>
                  <a:pt x="0" y="1735650"/>
                </a:cubicBezTo>
                <a:lnTo>
                  <a:pt x="0" y="1713374"/>
                </a:lnTo>
                <a:cubicBezTo>
                  <a:pt x="961784" y="1713374"/>
                  <a:pt x="1755557" y="979877"/>
                  <a:pt x="1851022" y="42848"/>
                </a:cubicBezTo>
                <a:close/>
                <a:moveTo>
                  <a:pt x="1730668" y="0"/>
                </a:moveTo>
                <a:lnTo>
                  <a:pt x="1753056" y="0"/>
                </a:lnTo>
                <a:lnTo>
                  <a:pt x="1751404" y="32610"/>
                </a:lnTo>
                <a:cubicBezTo>
                  <a:pt x="1661086" y="919190"/>
                  <a:pt x="910098" y="1613232"/>
                  <a:pt x="0" y="1613232"/>
                </a:cubicBezTo>
                <a:lnTo>
                  <a:pt x="0" y="1590961"/>
                </a:lnTo>
                <a:cubicBezTo>
                  <a:pt x="898495" y="1590961"/>
                  <a:pt x="1639954" y="905712"/>
                  <a:pt x="1729127" y="30432"/>
                </a:cubicBezTo>
                <a:close/>
                <a:moveTo>
                  <a:pt x="1608247" y="0"/>
                </a:moveTo>
                <a:lnTo>
                  <a:pt x="1630525" y="0"/>
                </a:lnTo>
                <a:lnTo>
                  <a:pt x="1629507" y="20086"/>
                </a:lnTo>
                <a:cubicBezTo>
                  <a:pt x="1545469" y="844919"/>
                  <a:pt x="846701" y="1490712"/>
                  <a:pt x="0" y="1490712"/>
                </a:cubicBezTo>
                <a:lnTo>
                  <a:pt x="0" y="1468436"/>
                </a:lnTo>
                <a:cubicBezTo>
                  <a:pt x="835206" y="1468436"/>
                  <a:pt x="1524451" y="831445"/>
                  <a:pt x="1607345" y="17816"/>
                </a:cubicBezTo>
                <a:close/>
                <a:moveTo>
                  <a:pt x="1485833" y="0"/>
                </a:moveTo>
                <a:lnTo>
                  <a:pt x="1508109" y="0"/>
                </a:lnTo>
                <a:lnTo>
                  <a:pt x="1507724" y="7596"/>
                </a:lnTo>
                <a:cubicBezTo>
                  <a:pt x="1429966" y="770778"/>
                  <a:pt x="783416" y="1368317"/>
                  <a:pt x="0" y="1368317"/>
                </a:cubicBezTo>
                <a:lnTo>
                  <a:pt x="0" y="1346041"/>
                </a:lnTo>
                <a:cubicBezTo>
                  <a:pt x="771917" y="1346041"/>
                  <a:pt x="1408949" y="757304"/>
                  <a:pt x="1485563" y="5325"/>
                </a:cubicBezTo>
                <a:close/>
                <a:moveTo>
                  <a:pt x="1362591" y="0"/>
                </a:moveTo>
                <a:lnTo>
                  <a:pt x="1385194" y="0"/>
                </a:lnTo>
                <a:lnTo>
                  <a:pt x="1364797" y="133264"/>
                </a:lnTo>
                <a:cubicBezTo>
                  <a:pt x="1234684" y="767432"/>
                  <a:pt x="672215" y="1245917"/>
                  <a:pt x="0" y="1245917"/>
                </a:cubicBezTo>
                <a:lnTo>
                  <a:pt x="0" y="1223641"/>
                </a:lnTo>
                <a:cubicBezTo>
                  <a:pt x="661385" y="1223641"/>
                  <a:pt x="1214835" y="752908"/>
                  <a:pt x="1342864" y="128894"/>
                </a:cubicBezTo>
                <a:close/>
                <a:moveTo>
                  <a:pt x="1238878" y="0"/>
                </a:moveTo>
                <a:lnTo>
                  <a:pt x="1261388" y="0"/>
                </a:lnTo>
                <a:lnTo>
                  <a:pt x="1244763" y="108614"/>
                </a:lnTo>
                <a:cubicBezTo>
                  <a:pt x="1126083" y="687031"/>
                  <a:pt x="613049" y="1123397"/>
                  <a:pt x="0" y="1123397"/>
                </a:cubicBezTo>
                <a:lnTo>
                  <a:pt x="0" y="1101121"/>
                </a:lnTo>
                <a:cubicBezTo>
                  <a:pt x="602316" y="1101121"/>
                  <a:pt x="1106344" y="672419"/>
                  <a:pt x="1222940" y="104135"/>
                </a:cubicBezTo>
                <a:close/>
                <a:moveTo>
                  <a:pt x="1115178" y="0"/>
                </a:moveTo>
                <a:lnTo>
                  <a:pt x="1137688" y="0"/>
                </a:lnTo>
                <a:lnTo>
                  <a:pt x="1124836" y="83962"/>
                </a:lnTo>
                <a:cubicBezTo>
                  <a:pt x="1017592" y="606647"/>
                  <a:pt x="553979" y="1000978"/>
                  <a:pt x="0" y="1000978"/>
                </a:cubicBezTo>
                <a:lnTo>
                  <a:pt x="0" y="978703"/>
                </a:lnTo>
                <a:cubicBezTo>
                  <a:pt x="543246" y="978703"/>
                  <a:pt x="997852" y="592039"/>
                  <a:pt x="1103012" y="79485"/>
                </a:cubicBezTo>
                <a:close/>
                <a:moveTo>
                  <a:pt x="991375" y="0"/>
                </a:moveTo>
                <a:lnTo>
                  <a:pt x="1013997" y="0"/>
                </a:lnTo>
                <a:lnTo>
                  <a:pt x="1004915" y="59331"/>
                </a:lnTo>
                <a:cubicBezTo>
                  <a:pt x="909100" y="526286"/>
                  <a:pt x="494909" y="878583"/>
                  <a:pt x="0" y="878583"/>
                </a:cubicBezTo>
                <a:lnTo>
                  <a:pt x="0" y="856307"/>
                </a:lnTo>
                <a:cubicBezTo>
                  <a:pt x="484176" y="856307"/>
                  <a:pt x="889272" y="511676"/>
                  <a:pt x="982981" y="54853"/>
                </a:cubicBezTo>
                <a:close/>
                <a:moveTo>
                  <a:pt x="866108" y="0"/>
                </a:moveTo>
                <a:lnTo>
                  <a:pt x="888384" y="0"/>
                </a:lnTo>
                <a:lnTo>
                  <a:pt x="884876" y="34680"/>
                </a:lnTo>
                <a:cubicBezTo>
                  <a:pt x="800495" y="445883"/>
                  <a:pt x="435739" y="756058"/>
                  <a:pt x="0" y="756058"/>
                </a:cubicBezTo>
                <a:lnTo>
                  <a:pt x="0" y="733782"/>
                </a:lnTo>
                <a:cubicBezTo>
                  <a:pt x="425107" y="733782"/>
                  <a:pt x="780781" y="431187"/>
                  <a:pt x="863057" y="30169"/>
                </a:cubicBezTo>
                <a:close/>
                <a:moveTo>
                  <a:pt x="743692" y="0"/>
                </a:moveTo>
                <a:lnTo>
                  <a:pt x="765973" y="0"/>
                </a:lnTo>
                <a:lnTo>
                  <a:pt x="764957" y="10048"/>
                </a:lnTo>
                <a:cubicBezTo>
                  <a:pt x="692029" y="365521"/>
                  <a:pt x="376767" y="633662"/>
                  <a:pt x="0" y="633662"/>
                </a:cubicBezTo>
                <a:lnTo>
                  <a:pt x="0" y="611386"/>
                </a:lnTo>
                <a:cubicBezTo>
                  <a:pt x="365938" y="611386"/>
                  <a:pt x="672265" y="350911"/>
                  <a:pt x="743129" y="5570"/>
                </a:cubicBezTo>
                <a:close/>
                <a:moveTo>
                  <a:pt x="617163" y="0"/>
                </a:moveTo>
                <a:lnTo>
                  <a:pt x="640489" y="0"/>
                </a:lnTo>
                <a:lnTo>
                  <a:pt x="606611" y="108906"/>
                </a:lnTo>
                <a:cubicBezTo>
                  <a:pt x="506524" y="345128"/>
                  <a:pt x="272312" y="511248"/>
                  <a:pt x="0" y="511248"/>
                </a:cubicBezTo>
                <a:lnTo>
                  <a:pt x="0" y="488972"/>
                </a:lnTo>
                <a:cubicBezTo>
                  <a:pt x="263030" y="488972"/>
                  <a:pt x="489290" y="328485"/>
                  <a:pt x="585980" y="100252"/>
                </a:cubicBezTo>
                <a:close/>
                <a:moveTo>
                  <a:pt x="489561" y="0"/>
                </a:moveTo>
                <a:lnTo>
                  <a:pt x="512789" y="0"/>
                </a:lnTo>
                <a:lnTo>
                  <a:pt x="493721" y="61289"/>
                </a:lnTo>
                <a:cubicBezTo>
                  <a:pt x="412246" y="253561"/>
                  <a:pt x="221597" y="388735"/>
                  <a:pt x="0" y="388735"/>
                </a:cubicBezTo>
                <a:lnTo>
                  <a:pt x="0" y="366459"/>
                </a:lnTo>
                <a:cubicBezTo>
                  <a:pt x="212399" y="366459"/>
                  <a:pt x="395116" y="236854"/>
                  <a:pt x="473199" y="52587"/>
                </a:cubicBezTo>
                <a:close/>
                <a:moveTo>
                  <a:pt x="361966" y="0"/>
                </a:moveTo>
                <a:lnTo>
                  <a:pt x="385181" y="0"/>
                </a:lnTo>
                <a:lnTo>
                  <a:pt x="380937" y="13636"/>
                </a:lnTo>
                <a:cubicBezTo>
                  <a:pt x="318070" y="161973"/>
                  <a:pt x="170965" y="266328"/>
                  <a:pt x="0" y="266328"/>
                </a:cubicBezTo>
                <a:lnTo>
                  <a:pt x="0" y="244052"/>
                </a:lnTo>
                <a:cubicBezTo>
                  <a:pt x="161767" y="244052"/>
                  <a:pt x="300940" y="145329"/>
                  <a:pt x="360416" y="4982"/>
                </a:cubicBezTo>
                <a:close/>
                <a:moveTo>
                  <a:pt x="218905" y="0"/>
                </a:moveTo>
                <a:lnTo>
                  <a:pt x="249720" y="0"/>
                </a:lnTo>
                <a:lnTo>
                  <a:pt x="241311" y="15475"/>
                </a:lnTo>
                <a:cubicBezTo>
                  <a:pt x="188962" y="92909"/>
                  <a:pt x="100349" y="143932"/>
                  <a:pt x="0" y="143932"/>
                </a:cubicBezTo>
                <a:lnTo>
                  <a:pt x="0" y="121656"/>
                </a:lnTo>
                <a:cubicBezTo>
                  <a:pt x="74091" y="121656"/>
                  <a:pt x="141290" y="91533"/>
                  <a:pt x="189966" y="42875"/>
                </a:cubicBezTo>
                <a:close/>
              </a:path>
            </a:pathLst>
          </a:custGeom>
          <a:solidFill>
            <a:schemeClr val="accent3">
              <a:lumMod val="20000"/>
              <a:lumOff val="80000"/>
            </a:schemeClr>
          </a:solidFill>
          <a:ln w="4588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>
              <a:solidFill>
                <a:schemeClr val="tx1"/>
              </a:solidFill>
            </a:endParaRP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A52D64F1-27B6-A1E5-4F44-A6029FAB307B}"/>
              </a:ext>
            </a:extLst>
          </p:cNvPr>
          <p:cNvSpPr/>
          <p:nvPr userDrawn="1"/>
        </p:nvSpPr>
        <p:spPr>
          <a:xfrm flipH="1" flipV="1">
            <a:off x="9949173" y="4755034"/>
            <a:ext cx="2242827" cy="2102966"/>
          </a:xfrm>
          <a:custGeom>
            <a:avLst/>
            <a:gdLst>
              <a:gd name="connsiteX0" fmla="*/ 2220549 w 2242827"/>
              <a:gd name="connsiteY0" fmla="*/ 0 h 2102966"/>
              <a:gd name="connsiteX1" fmla="*/ 2242827 w 2242827"/>
              <a:gd name="connsiteY1" fmla="*/ 0 h 2102966"/>
              <a:gd name="connsiteX2" fmla="*/ 2238641 w 2242827"/>
              <a:gd name="connsiteY2" fmla="*/ 82607 h 2102966"/>
              <a:gd name="connsiteX3" fmla="*/ 1 w 2242827"/>
              <a:gd name="connsiteY3" fmla="*/ 2102966 h 2102966"/>
              <a:gd name="connsiteX4" fmla="*/ 1 w 2242827"/>
              <a:gd name="connsiteY4" fmla="*/ 2080690 h 2102966"/>
              <a:gd name="connsiteX5" fmla="*/ 2216479 w 2242827"/>
              <a:gd name="connsiteY5" fmla="*/ 80336 h 2102966"/>
              <a:gd name="connsiteX6" fmla="*/ 2098030 w 2242827"/>
              <a:gd name="connsiteY6" fmla="*/ 0 h 2102966"/>
              <a:gd name="connsiteX7" fmla="*/ 2120412 w 2242827"/>
              <a:gd name="connsiteY7" fmla="*/ 0 h 2102966"/>
              <a:gd name="connsiteX8" fmla="*/ 2116859 w 2242827"/>
              <a:gd name="connsiteY8" fmla="*/ 70117 h 2102966"/>
              <a:gd name="connsiteX9" fmla="*/ 1 w 2242827"/>
              <a:gd name="connsiteY9" fmla="*/ 1980571 h 2102966"/>
              <a:gd name="connsiteX10" fmla="*/ 1 w 2242827"/>
              <a:gd name="connsiteY10" fmla="*/ 1958295 h 2102966"/>
              <a:gd name="connsiteX11" fmla="*/ 2094588 w 2242827"/>
              <a:gd name="connsiteY11" fmla="*/ 67938 h 2102966"/>
              <a:gd name="connsiteX12" fmla="*/ 1975608 w 2242827"/>
              <a:gd name="connsiteY12" fmla="*/ 0 h 2102966"/>
              <a:gd name="connsiteX13" fmla="*/ 1997887 w 2242827"/>
              <a:gd name="connsiteY13" fmla="*/ 0 h 2102966"/>
              <a:gd name="connsiteX14" fmla="*/ 1994968 w 2242827"/>
              <a:gd name="connsiteY14" fmla="*/ 57611 h 2102966"/>
              <a:gd name="connsiteX15" fmla="*/ 1 w 2242827"/>
              <a:gd name="connsiteY15" fmla="*/ 1858047 h 2102966"/>
              <a:gd name="connsiteX16" fmla="*/ 1 w 2242827"/>
              <a:gd name="connsiteY16" fmla="*/ 1835771 h 2102966"/>
              <a:gd name="connsiteX17" fmla="*/ 1972805 w 2242827"/>
              <a:gd name="connsiteY17" fmla="*/ 55322 h 2102966"/>
              <a:gd name="connsiteX18" fmla="*/ 1853193 w 2242827"/>
              <a:gd name="connsiteY18" fmla="*/ 0 h 2102966"/>
              <a:gd name="connsiteX19" fmla="*/ 1875472 w 2242827"/>
              <a:gd name="connsiteY19" fmla="*/ 0 h 2102966"/>
              <a:gd name="connsiteX20" fmla="*/ 1873186 w 2242827"/>
              <a:gd name="connsiteY20" fmla="*/ 45119 h 2102966"/>
              <a:gd name="connsiteX21" fmla="*/ 0 w 2242827"/>
              <a:gd name="connsiteY21" fmla="*/ 1735650 h 2102966"/>
              <a:gd name="connsiteX22" fmla="*/ 0 w 2242827"/>
              <a:gd name="connsiteY22" fmla="*/ 1713374 h 2102966"/>
              <a:gd name="connsiteX23" fmla="*/ 1851022 w 2242827"/>
              <a:gd name="connsiteY23" fmla="*/ 42848 h 2102966"/>
              <a:gd name="connsiteX24" fmla="*/ 1730668 w 2242827"/>
              <a:gd name="connsiteY24" fmla="*/ 0 h 2102966"/>
              <a:gd name="connsiteX25" fmla="*/ 1753056 w 2242827"/>
              <a:gd name="connsiteY25" fmla="*/ 0 h 2102966"/>
              <a:gd name="connsiteX26" fmla="*/ 1751404 w 2242827"/>
              <a:gd name="connsiteY26" fmla="*/ 32610 h 2102966"/>
              <a:gd name="connsiteX27" fmla="*/ 0 w 2242827"/>
              <a:gd name="connsiteY27" fmla="*/ 1613232 h 2102966"/>
              <a:gd name="connsiteX28" fmla="*/ 0 w 2242827"/>
              <a:gd name="connsiteY28" fmla="*/ 1590961 h 2102966"/>
              <a:gd name="connsiteX29" fmla="*/ 1729127 w 2242827"/>
              <a:gd name="connsiteY29" fmla="*/ 30432 h 2102966"/>
              <a:gd name="connsiteX30" fmla="*/ 1608247 w 2242827"/>
              <a:gd name="connsiteY30" fmla="*/ 0 h 2102966"/>
              <a:gd name="connsiteX31" fmla="*/ 1630525 w 2242827"/>
              <a:gd name="connsiteY31" fmla="*/ 0 h 2102966"/>
              <a:gd name="connsiteX32" fmla="*/ 1629507 w 2242827"/>
              <a:gd name="connsiteY32" fmla="*/ 20086 h 2102966"/>
              <a:gd name="connsiteX33" fmla="*/ 0 w 2242827"/>
              <a:gd name="connsiteY33" fmla="*/ 1490712 h 2102966"/>
              <a:gd name="connsiteX34" fmla="*/ 0 w 2242827"/>
              <a:gd name="connsiteY34" fmla="*/ 1468436 h 2102966"/>
              <a:gd name="connsiteX35" fmla="*/ 1607345 w 2242827"/>
              <a:gd name="connsiteY35" fmla="*/ 17816 h 2102966"/>
              <a:gd name="connsiteX36" fmla="*/ 1485833 w 2242827"/>
              <a:gd name="connsiteY36" fmla="*/ 0 h 2102966"/>
              <a:gd name="connsiteX37" fmla="*/ 1508109 w 2242827"/>
              <a:gd name="connsiteY37" fmla="*/ 0 h 2102966"/>
              <a:gd name="connsiteX38" fmla="*/ 1507724 w 2242827"/>
              <a:gd name="connsiteY38" fmla="*/ 7596 h 2102966"/>
              <a:gd name="connsiteX39" fmla="*/ 0 w 2242827"/>
              <a:gd name="connsiteY39" fmla="*/ 1368317 h 2102966"/>
              <a:gd name="connsiteX40" fmla="*/ 0 w 2242827"/>
              <a:gd name="connsiteY40" fmla="*/ 1346041 h 2102966"/>
              <a:gd name="connsiteX41" fmla="*/ 1485563 w 2242827"/>
              <a:gd name="connsiteY41" fmla="*/ 5325 h 2102966"/>
              <a:gd name="connsiteX42" fmla="*/ 1362591 w 2242827"/>
              <a:gd name="connsiteY42" fmla="*/ 0 h 2102966"/>
              <a:gd name="connsiteX43" fmla="*/ 1385194 w 2242827"/>
              <a:gd name="connsiteY43" fmla="*/ 0 h 2102966"/>
              <a:gd name="connsiteX44" fmla="*/ 1364797 w 2242827"/>
              <a:gd name="connsiteY44" fmla="*/ 133264 h 2102966"/>
              <a:gd name="connsiteX45" fmla="*/ 0 w 2242827"/>
              <a:gd name="connsiteY45" fmla="*/ 1245917 h 2102966"/>
              <a:gd name="connsiteX46" fmla="*/ 0 w 2242827"/>
              <a:gd name="connsiteY46" fmla="*/ 1223641 h 2102966"/>
              <a:gd name="connsiteX47" fmla="*/ 1342864 w 2242827"/>
              <a:gd name="connsiteY47" fmla="*/ 128894 h 2102966"/>
              <a:gd name="connsiteX48" fmla="*/ 1238878 w 2242827"/>
              <a:gd name="connsiteY48" fmla="*/ 0 h 2102966"/>
              <a:gd name="connsiteX49" fmla="*/ 1261388 w 2242827"/>
              <a:gd name="connsiteY49" fmla="*/ 0 h 2102966"/>
              <a:gd name="connsiteX50" fmla="*/ 1244763 w 2242827"/>
              <a:gd name="connsiteY50" fmla="*/ 108614 h 2102966"/>
              <a:gd name="connsiteX51" fmla="*/ 0 w 2242827"/>
              <a:gd name="connsiteY51" fmla="*/ 1123397 h 2102966"/>
              <a:gd name="connsiteX52" fmla="*/ 0 w 2242827"/>
              <a:gd name="connsiteY52" fmla="*/ 1101121 h 2102966"/>
              <a:gd name="connsiteX53" fmla="*/ 1222940 w 2242827"/>
              <a:gd name="connsiteY53" fmla="*/ 104135 h 2102966"/>
              <a:gd name="connsiteX54" fmla="*/ 1115178 w 2242827"/>
              <a:gd name="connsiteY54" fmla="*/ 0 h 2102966"/>
              <a:gd name="connsiteX55" fmla="*/ 1137688 w 2242827"/>
              <a:gd name="connsiteY55" fmla="*/ 0 h 2102966"/>
              <a:gd name="connsiteX56" fmla="*/ 1124836 w 2242827"/>
              <a:gd name="connsiteY56" fmla="*/ 83962 h 2102966"/>
              <a:gd name="connsiteX57" fmla="*/ 0 w 2242827"/>
              <a:gd name="connsiteY57" fmla="*/ 1000978 h 2102966"/>
              <a:gd name="connsiteX58" fmla="*/ 0 w 2242827"/>
              <a:gd name="connsiteY58" fmla="*/ 978703 h 2102966"/>
              <a:gd name="connsiteX59" fmla="*/ 1103012 w 2242827"/>
              <a:gd name="connsiteY59" fmla="*/ 79485 h 2102966"/>
              <a:gd name="connsiteX60" fmla="*/ 991375 w 2242827"/>
              <a:gd name="connsiteY60" fmla="*/ 0 h 2102966"/>
              <a:gd name="connsiteX61" fmla="*/ 1013997 w 2242827"/>
              <a:gd name="connsiteY61" fmla="*/ 0 h 2102966"/>
              <a:gd name="connsiteX62" fmla="*/ 1004915 w 2242827"/>
              <a:gd name="connsiteY62" fmla="*/ 59331 h 2102966"/>
              <a:gd name="connsiteX63" fmla="*/ 0 w 2242827"/>
              <a:gd name="connsiteY63" fmla="*/ 878583 h 2102966"/>
              <a:gd name="connsiteX64" fmla="*/ 0 w 2242827"/>
              <a:gd name="connsiteY64" fmla="*/ 856307 h 2102966"/>
              <a:gd name="connsiteX65" fmla="*/ 982981 w 2242827"/>
              <a:gd name="connsiteY65" fmla="*/ 54853 h 2102966"/>
              <a:gd name="connsiteX66" fmla="*/ 866108 w 2242827"/>
              <a:gd name="connsiteY66" fmla="*/ 0 h 2102966"/>
              <a:gd name="connsiteX67" fmla="*/ 888384 w 2242827"/>
              <a:gd name="connsiteY67" fmla="*/ 0 h 2102966"/>
              <a:gd name="connsiteX68" fmla="*/ 884876 w 2242827"/>
              <a:gd name="connsiteY68" fmla="*/ 34680 h 2102966"/>
              <a:gd name="connsiteX69" fmla="*/ 0 w 2242827"/>
              <a:gd name="connsiteY69" fmla="*/ 756058 h 2102966"/>
              <a:gd name="connsiteX70" fmla="*/ 0 w 2242827"/>
              <a:gd name="connsiteY70" fmla="*/ 733782 h 2102966"/>
              <a:gd name="connsiteX71" fmla="*/ 863057 w 2242827"/>
              <a:gd name="connsiteY71" fmla="*/ 30169 h 2102966"/>
              <a:gd name="connsiteX72" fmla="*/ 743692 w 2242827"/>
              <a:gd name="connsiteY72" fmla="*/ 0 h 2102966"/>
              <a:gd name="connsiteX73" fmla="*/ 765973 w 2242827"/>
              <a:gd name="connsiteY73" fmla="*/ 0 h 2102966"/>
              <a:gd name="connsiteX74" fmla="*/ 764957 w 2242827"/>
              <a:gd name="connsiteY74" fmla="*/ 10048 h 2102966"/>
              <a:gd name="connsiteX75" fmla="*/ 0 w 2242827"/>
              <a:gd name="connsiteY75" fmla="*/ 633662 h 2102966"/>
              <a:gd name="connsiteX76" fmla="*/ 0 w 2242827"/>
              <a:gd name="connsiteY76" fmla="*/ 611386 h 2102966"/>
              <a:gd name="connsiteX77" fmla="*/ 743129 w 2242827"/>
              <a:gd name="connsiteY77" fmla="*/ 5570 h 2102966"/>
              <a:gd name="connsiteX78" fmla="*/ 617163 w 2242827"/>
              <a:gd name="connsiteY78" fmla="*/ 0 h 2102966"/>
              <a:gd name="connsiteX79" fmla="*/ 640489 w 2242827"/>
              <a:gd name="connsiteY79" fmla="*/ 0 h 2102966"/>
              <a:gd name="connsiteX80" fmla="*/ 606611 w 2242827"/>
              <a:gd name="connsiteY80" fmla="*/ 108906 h 2102966"/>
              <a:gd name="connsiteX81" fmla="*/ 0 w 2242827"/>
              <a:gd name="connsiteY81" fmla="*/ 511248 h 2102966"/>
              <a:gd name="connsiteX82" fmla="*/ 0 w 2242827"/>
              <a:gd name="connsiteY82" fmla="*/ 488972 h 2102966"/>
              <a:gd name="connsiteX83" fmla="*/ 585980 w 2242827"/>
              <a:gd name="connsiteY83" fmla="*/ 100252 h 2102966"/>
              <a:gd name="connsiteX84" fmla="*/ 489561 w 2242827"/>
              <a:gd name="connsiteY84" fmla="*/ 0 h 2102966"/>
              <a:gd name="connsiteX85" fmla="*/ 512789 w 2242827"/>
              <a:gd name="connsiteY85" fmla="*/ 0 h 2102966"/>
              <a:gd name="connsiteX86" fmla="*/ 493721 w 2242827"/>
              <a:gd name="connsiteY86" fmla="*/ 61289 h 2102966"/>
              <a:gd name="connsiteX87" fmla="*/ 0 w 2242827"/>
              <a:gd name="connsiteY87" fmla="*/ 388735 h 2102966"/>
              <a:gd name="connsiteX88" fmla="*/ 0 w 2242827"/>
              <a:gd name="connsiteY88" fmla="*/ 366459 h 2102966"/>
              <a:gd name="connsiteX89" fmla="*/ 473199 w 2242827"/>
              <a:gd name="connsiteY89" fmla="*/ 52587 h 2102966"/>
              <a:gd name="connsiteX90" fmla="*/ 361966 w 2242827"/>
              <a:gd name="connsiteY90" fmla="*/ 0 h 2102966"/>
              <a:gd name="connsiteX91" fmla="*/ 385181 w 2242827"/>
              <a:gd name="connsiteY91" fmla="*/ 0 h 2102966"/>
              <a:gd name="connsiteX92" fmla="*/ 380937 w 2242827"/>
              <a:gd name="connsiteY92" fmla="*/ 13636 h 2102966"/>
              <a:gd name="connsiteX93" fmla="*/ 0 w 2242827"/>
              <a:gd name="connsiteY93" fmla="*/ 266328 h 2102966"/>
              <a:gd name="connsiteX94" fmla="*/ 0 w 2242827"/>
              <a:gd name="connsiteY94" fmla="*/ 244052 h 2102966"/>
              <a:gd name="connsiteX95" fmla="*/ 360416 w 2242827"/>
              <a:gd name="connsiteY95" fmla="*/ 4982 h 2102966"/>
              <a:gd name="connsiteX96" fmla="*/ 218905 w 2242827"/>
              <a:gd name="connsiteY96" fmla="*/ 0 h 2102966"/>
              <a:gd name="connsiteX97" fmla="*/ 249720 w 2242827"/>
              <a:gd name="connsiteY97" fmla="*/ 0 h 2102966"/>
              <a:gd name="connsiteX98" fmla="*/ 241311 w 2242827"/>
              <a:gd name="connsiteY98" fmla="*/ 15475 h 2102966"/>
              <a:gd name="connsiteX99" fmla="*/ 0 w 2242827"/>
              <a:gd name="connsiteY99" fmla="*/ 143932 h 2102966"/>
              <a:gd name="connsiteX100" fmla="*/ 0 w 2242827"/>
              <a:gd name="connsiteY100" fmla="*/ 121656 h 2102966"/>
              <a:gd name="connsiteX101" fmla="*/ 189966 w 2242827"/>
              <a:gd name="connsiteY101" fmla="*/ 42875 h 21029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</a:cxnLst>
            <a:rect l="l" t="t" r="r" b="b"/>
            <a:pathLst>
              <a:path w="2242827" h="2102966">
                <a:moveTo>
                  <a:pt x="2220549" y="0"/>
                </a:moveTo>
                <a:lnTo>
                  <a:pt x="2242827" y="0"/>
                </a:lnTo>
                <a:lnTo>
                  <a:pt x="2238641" y="82607"/>
                </a:lnTo>
                <a:cubicBezTo>
                  <a:pt x="2123193" y="1215807"/>
                  <a:pt x="1163255" y="2102966"/>
                  <a:pt x="1" y="2102966"/>
                </a:cubicBezTo>
                <a:lnTo>
                  <a:pt x="1" y="2080690"/>
                </a:lnTo>
                <a:cubicBezTo>
                  <a:pt x="1151759" y="2080690"/>
                  <a:pt x="2102176" y="1202330"/>
                  <a:pt x="2216479" y="80336"/>
                </a:cubicBezTo>
                <a:close/>
                <a:moveTo>
                  <a:pt x="2098030" y="0"/>
                </a:moveTo>
                <a:lnTo>
                  <a:pt x="2120412" y="0"/>
                </a:lnTo>
                <a:lnTo>
                  <a:pt x="2116859" y="70117"/>
                </a:lnTo>
                <a:cubicBezTo>
                  <a:pt x="2007691" y="1141666"/>
                  <a:pt x="1099966" y="1980571"/>
                  <a:pt x="1" y="1980571"/>
                </a:cubicBezTo>
                <a:lnTo>
                  <a:pt x="1" y="1958295"/>
                </a:lnTo>
                <a:cubicBezTo>
                  <a:pt x="1088470" y="1958295"/>
                  <a:pt x="1986577" y="1128187"/>
                  <a:pt x="2094588" y="67938"/>
                </a:cubicBezTo>
                <a:close/>
                <a:moveTo>
                  <a:pt x="1975608" y="0"/>
                </a:moveTo>
                <a:lnTo>
                  <a:pt x="1997887" y="0"/>
                </a:lnTo>
                <a:lnTo>
                  <a:pt x="1994968" y="57611"/>
                </a:lnTo>
                <a:cubicBezTo>
                  <a:pt x="1892090" y="1067493"/>
                  <a:pt x="1036676" y="1858047"/>
                  <a:pt x="1" y="1858047"/>
                </a:cubicBezTo>
                <a:lnTo>
                  <a:pt x="1" y="1835771"/>
                </a:lnTo>
                <a:cubicBezTo>
                  <a:pt x="1025181" y="1835771"/>
                  <a:pt x="1871073" y="1053919"/>
                  <a:pt x="1972805" y="55322"/>
                </a:cubicBezTo>
                <a:close/>
                <a:moveTo>
                  <a:pt x="1853193" y="0"/>
                </a:moveTo>
                <a:lnTo>
                  <a:pt x="1875472" y="0"/>
                </a:lnTo>
                <a:lnTo>
                  <a:pt x="1873186" y="45119"/>
                </a:lnTo>
                <a:cubicBezTo>
                  <a:pt x="1776588" y="993350"/>
                  <a:pt x="973388" y="1735650"/>
                  <a:pt x="0" y="1735650"/>
                </a:cubicBezTo>
                <a:lnTo>
                  <a:pt x="0" y="1713374"/>
                </a:lnTo>
                <a:cubicBezTo>
                  <a:pt x="961784" y="1713374"/>
                  <a:pt x="1755557" y="979877"/>
                  <a:pt x="1851022" y="42848"/>
                </a:cubicBezTo>
                <a:close/>
                <a:moveTo>
                  <a:pt x="1730668" y="0"/>
                </a:moveTo>
                <a:lnTo>
                  <a:pt x="1753056" y="0"/>
                </a:lnTo>
                <a:lnTo>
                  <a:pt x="1751404" y="32610"/>
                </a:lnTo>
                <a:cubicBezTo>
                  <a:pt x="1661086" y="919190"/>
                  <a:pt x="910098" y="1613232"/>
                  <a:pt x="0" y="1613232"/>
                </a:cubicBezTo>
                <a:lnTo>
                  <a:pt x="0" y="1590961"/>
                </a:lnTo>
                <a:cubicBezTo>
                  <a:pt x="898495" y="1590961"/>
                  <a:pt x="1639954" y="905712"/>
                  <a:pt x="1729127" y="30432"/>
                </a:cubicBezTo>
                <a:close/>
                <a:moveTo>
                  <a:pt x="1608247" y="0"/>
                </a:moveTo>
                <a:lnTo>
                  <a:pt x="1630525" y="0"/>
                </a:lnTo>
                <a:lnTo>
                  <a:pt x="1629507" y="20086"/>
                </a:lnTo>
                <a:cubicBezTo>
                  <a:pt x="1545469" y="844919"/>
                  <a:pt x="846701" y="1490712"/>
                  <a:pt x="0" y="1490712"/>
                </a:cubicBezTo>
                <a:lnTo>
                  <a:pt x="0" y="1468436"/>
                </a:lnTo>
                <a:cubicBezTo>
                  <a:pt x="835206" y="1468436"/>
                  <a:pt x="1524451" y="831445"/>
                  <a:pt x="1607345" y="17816"/>
                </a:cubicBezTo>
                <a:close/>
                <a:moveTo>
                  <a:pt x="1485833" y="0"/>
                </a:moveTo>
                <a:lnTo>
                  <a:pt x="1508109" y="0"/>
                </a:lnTo>
                <a:lnTo>
                  <a:pt x="1507724" y="7596"/>
                </a:lnTo>
                <a:cubicBezTo>
                  <a:pt x="1429966" y="770778"/>
                  <a:pt x="783416" y="1368317"/>
                  <a:pt x="0" y="1368317"/>
                </a:cubicBezTo>
                <a:lnTo>
                  <a:pt x="0" y="1346041"/>
                </a:lnTo>
                <a:cubicBezTo>
                  <a:pt x="771917" y="1346041"/>
                  <a:pt x="1408949" y="757304"/>
                  <a:pt x="1485563" y="5325"/>
                </a:cubicBezTo>
                <a:close/>
                <a:moveTo>
                  <a:pt x="1362591" y="0"/>
                </a:moveTo>
                <a:lnTo>
                  <a:pt x="1385194" y="0"/>
                </a:lnTo>
                <a:lnTo>
                  <a:pt x="1364797" y="133264"/>
                </a:lnTo>
                <a:cubicBezTo>
                  <a:pt x="1234684" y="767432"/>
                  <a:pt x="672215" y="1245917"/>
                  <a:pt x="0" y="1245917"/>
                </a:cubicBezTo>
                <a:lnTo>
                  <a:pt x="0" y="1223641"/>
                </a:lnTo>
                <a:cubicBezTo>
                  <a:pt x="661385" y="1223641"/>
                  <a:pt x="1214835" y="752908"/>
                  <a:pt x="1342864" y="128894"/>
                </a:cubicBezTo>
                <a:close/>
                <a:moveTo>
                  <a:pt x="1238878" y="0"/>
                </a:moveTo>
                <a:lnTo>
                  <a:pt x="1261388" y="0"/>
                </a:lnTo>
                <a:lnTo>
                  <a:pt x="1244763" y="108614"/>
                </a:lnTo>
                <a:cubicBezTo>
                  <a:pt x="1126083" y="687031"/>
                  <a:pt x="613049" y="1123397"/>
                  <a:pt x="0" y="1123397"/>
                </a:cubicBezTo>
                <a:lnTo>
                  <a:pt x="0" y="1101121"/>
                </a:lnTo>
                <a:cubicBezTo>
                  <a:pt x="602316" y="1101121"/>
                  <a:pt x="1106344" y="672419"/>
                  <a:pt x="1222940" y="104135"/>
                </a:cubicBezTo>
                <a:close/>
                <a:moveTo>
                  <a:pt x="1115178" y="0"/>
                </a:moveTo>
                <a:lnTo>
                  <a:pt x="1137688" y="0"/>
                </a:lnTo>
                <a:lnTo>
                  <a:pt x="1124836" y="83962"/>
                </a:lnTo>
                <a:cubicBezTo>
                  <a:pt x="1017592" y="606647"/>
                  <a:pt x="553979" y="1000978"/>
                  <a:pt x="0" y="1000978"/>
                </a:cubicBezTo>
                <a:lnTo>
                  <a:pt x="0" y="978703"/>
                </a:lnTo>
                <a:cubicBezTo>
                  <a:pt x="543246" y="978703"/>
                  <a:pt x="997852" y="592039"/>
                  <a:pt x="1103012" y="79485"/>
                </a:cubicBezTo>
                <a:close/>
                <a:moveTo>
                  <a:pt x="991375" y="0"/>
                </a:moveTo>
                <a:lnTo>
                  <a:pt x="1013997" y="0"/>
                </a:lnTo>
                <a:lnTo>
                  <a:pt x="1004915" y="59331"/>
                </a:lnTo>
                <a:cubicBezTo>
                  <a:pt x="909100" y="526286"/>
                  <a:pt x="494909" y="878583"/>
                  <a:pt x="0" y="878583"/>
                </a:cubicBezTo>
                <a:lnTo>
                  <a:pt x="0" y="856307"/>
                </a:lnTo>
                <a:cubicBezTo>
                  <a:pt x="484176" y="856307"/>
                  <a:pt x="889272" y="511676"/>
                  <a:pt x="982981" y="54853"/>
                </a:cubicBezTo>
                <a:close/>
                <a:moveTo>
                  <a:pt x="866108" y="0"/>
                </a:moveTo>
                <a:lnTo>
                  <a:pt x="888384" y="0"/>
                </a:lnTo>
                <a:lnTo>
                  <a:pt x="884876" y="34680"/>
                </a:lnTo>
                <a:cubicBezTo>
                  <a:pt x="800495" y="445883"/>
                  <a:pt x="435739" y="756058"/>
                  <a:pt x="0" y="756058"/>
                </a:cubicBezTo>
                <a:lnTo>
                  <a:pt x="0" y="733782"/>
                </a:lnTo>
                <a:cubicBezTo>
                  <a:pt x="425107" y="733782"/>
                  <a:pt x="780781" y="431187"/>
                  <a:pt x="863057" y="30169"/>
                </a:cubicBezTo>
                <a:close/>
                <a:moveTo>
                  <a:pt x="743692" y="0"/>
                </a:moveTo>
                <a:lnTo>
                  <a:pt x="765973" y="0"/>
                </a:lnTo>
                <a:lnTo>
                  <a:pt x="764957" y="10048"/>
                </a:lnTo>
                <a:cubicBezTo>
                  <a:pt x="692029" y="365521"/>
                  <a:pt x="376767" y="633662"/>
                  <a:pt x="0" y="633662"/>
                </a:cubicBezTo>
                <a:lnTo>
                  <a:pt x="0" y="611386"/>
                </a:lnTo>
                <a:cubicBezTo>
                  <a:pt x="365938" y="611386"/>
                  <a:pt x="672265" y="350911"/>
                  <a:pt x="743129" y="5570"/>
                </a:cubicBezTo>
                <a:close/>
                <a:moveTo>
                  <a:pt x="617163" y="0"/>
                </a:moveTo>
                <a:lnTo>
                  <a:pt x="640489" y="0"/>
                </a:lnTo>
                <a:lnTo>
                  <a:pt x="606611" y="108906"/>
                </a:lnTo>
                <a:cubicBezTo>
                  <a:pt x="506524" y="345128"/>
                  <a:pt x="272312" y="511248"/>
                  <a:pt x="0" y="511248"/>
                </a:cubicBezTo>
                <a:lnTo>
                  <a:pt x="0" y="488972"/>
                </a:lnTo>
                <a:cubicBezTo>
                  <a:pt x="263030" y="488972"/>
                  <a:pt x="489290" y="328485"/>
                  <a:pt x="585980" y="100252"/>
                </a:cubicBezTo>
                <a:close/>
                <a:moveTo>
                  <a:pt x="489561" y="0"/>
                </a:moveTo>
                <a:lnTo>
                  <a:pt x="512789" y="0"/>
                </a:lnTo>
                <a:lnTo>
                  <a:pt x="493721" y="61289"/>
                </a:lnTo>
                <a:cubicBezTo>
                  <a:pt x="412246" y="253561"/>
                  <a:pt x="221597" y="388735"/>
                  <a:pt x="0" y="388735"/>
                </a:cubicBezTo>
                <a:lnTo>
                  <a:pt x="0" y="366459"/>
                </a:lnTo>
                <a:cubicBezTo>
                  <a:pt x="212399" y="366459"/>
                  <a:pt x="395116" y="236854"/>
                  <a:pt x="473199" y="52587"/>
                </a:cubicBezTo>
                <a:close/>
                <a:moveTo>
                  <a:pt x="361966" y="0"/>
                </a:moveTo>
                <a:lnTo>
                  <a:pt x="385181" y="0"/>
                </a:lnTo>
                <a:lnTo>
                  <a:pt x="380937" y="13636"/>
                </a:lnTo>
                <a:cubicBezTo>
                  <a:pt x="318070" y="161973"/>
                  <a:pt x="170965" y="266328"/>
                  <a:pt x="0" y="266328"/>
                </a:cubicBezTo>
                <a:lnTo>
                  <a:pt x="0" y="244052"/>
                </a:lnTo>
                <a:cubicBezTo>
                  <a:pt x="161767" y="244052"/>
                  <a:pt x="300940" y="145329"/>
                  <a:pt x="360416" y="4982"/>
                </a:cubicBezTo>
                <a:close/>
                <a:moveTo>
                  <a:pt x="218905" y="0"/>
                </a:moveTo>
                <a:lnTo>
                  <a:pt x="249720" y="0"/>
                </a:lnTo>
                <a:lnTo>
                  <a:pt x="241311" y="15475"/>
                </a:lnTo>
                <a:cubicBezTo>
                  <a:pt x="188962" y="92909"/>
                  <a:pt x="100349" y="143932"/>
                  <a:pt x="0" y="143932"/>
                </a:cubicBezTo>
                <a:lnTo>
                  <a:pt x="0" y="121656"/>
                </a:lnTo>
                <a:cubicBezTo>
                  <a:pt x="74091" y="121656"/>
                  <a:pt x="141290" y="91533"/>
                  <a:pt x="189966" y="42875"/>
                </a:cubicBezTo>
                <a:close/>
              </a:path>
            </a:pathLst>
          </a:custGeom>
          <a:solidFill>
            <a:schemeClr val="accent3">
              <a:lumMod val="20000"/>
              <a:lumOff val="80000"/>
            </a:schemeClr>
          </a:solidFill>
          <a:ln w="4588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186844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: Shape 5">
            <a:extLst>
              <a:ext uri="{FF2B5EF4-FFF2-40B4-BE49-F238E27FC236}">
                <a16:creationId xmlns:a16="http://schemas.microsoft.com/office/drawing/2014/main" id="{A626DE4B-D4E5-B36A-89FA-7C0E87AFC31D}"/>
              </a:ext>
            </a:extLst>
          </p:cNvPr>
          <p:cNvSpPr/>
          <p:nvPr userDrawn="1"/>
        </p:nvSpPr>
        <p:spPr>
          <a:xfrm>
            <a:off x="1" y="0"/>
            <a:ext cx="2242827" cy="2102966"/>
          </a:xfrm>
          <a:custGeom>
            <a:avLst/>
            <a:gdLst>
              <a:gd name="connsiteX0" fmla="*/ 2220549 w 2242827"/>
              <a:gd name="connsiteY0" fmla="*/ 0 h 2102966"/>
              <a:gd name="connsiteX1" fmla="*/ 2242827 w 2242827"/>
              <a:gd name="connsiteY1" fmla="*/ 0 h 2102966"/>
              <a:gd name="connsiteX2" fmla="*/ 2238641 w 2242827"/>
              <a:gd name="connsiteY2" fmla="*/ 82607 h 2102966"/>
              <a:gd name="connsiteX3" fmla="*/ 1 w 2242827"/>
              <a:gd name="connsiteY3" fmla="*/ 2102966 h 2102966"/>
              <a:gd name="connsiteX4" fmla="*/ 1 w 2242827"/>
              <a:gd name="connsiteY4" fmla="*/ 2080690 h 2102966"/>
              <a:gd name="connsiteX5" fmla="*/ 2216479 w 2242827"/>
              <a:gd name="connsiteY5" fmla="*/ 80336 h 2102966"/>
              <a:gd name="connsiteX6" fmla="*/ 2098030 w 2242827"/>
              <a:gd name="connsiteY6" fmla="*/ 0 h 2102966"/>
              <a:gd name="connsiteX7" fmla="*/ 2120412 w 2242827"/>
              <a:gd name="connsiteY7" fmla="*/ 0 h 2102966"/>
              <a:gd name="connsiteX8" fmla="*/ 2116859 w 2242827"/>
              <a:gd name="connsiteY8" fmla="*/ 70117 h 2102966"/>
              <a:gd name="connsiteX9" fmla="*/ 1 w 2242827"/>
              <a:gd name="connsiteY9" fmla="*/ 1980571 h 2102966"/>
              <a:gd name="connsiteX10" fmla="*/ 1 w 2242827"/>
              <a:gd name="connsiteY10" fmla="*/ 1958295 h 2102966"/>
              <a:gd name="connsiteX11" fmla="*/ 2094588 w 2242827"/>
              <a:gd name="connsiteY11" fmla="*/ 67938 h 2102966"/>
              <a:gd name="connsiteX12" fmla="*/ 1975608 w 2242827"/>
              <a:gd name="connsiteY12" fmla="*/ 0 h 2102966"/>
              <a:gd name="connsiteX13" fmla="*/ 1997887 w 2242827"/>
              <a:gd name="connsiteY13" fmla="*/ 0 h 2102966"/>
              <a:gd name="connsiteX14" fmla="*/ 1994968 w 2242827"/>
              <a:gd name="connsiteY14" fmla="*/ 57611 h 2102966"/>
              <a:gd name="connsiteX15" fmla="*/ 1 w 2242827"/>
              <a:gd name="connsiteY15" fmla="*/ 1858047 h 2102966"/>
              <a:gd name="connsiteX16" fmla="*/ 1 w 2242827"/>
              <a:gd name="connsiteY16" fmla="*/ 1835771 h 2102966"/>
              <a:gd name="connsiteX17" fmla="*/ 1972805 w 2242827"/>
              <a:gd name="connsiteY17" fmla="*/ 55322 h 2102966"/>
              <a:gd name="connsiteX18" fmla="*/ 1853193 w 2242827"/>
              <a:gd name="connsiteY18" fmla="*/ 0 h 2102966"/>
              <a:gd name="connsiteX19" fmla="*/ 1875472 w 2242827"/>
              <a:gd name="connsiteY19" fmla="*/ 0 h 2102966"/>
              <a:gd name="connsiteX20" fmla="*/ 1873186 w 2242827"/>
              <a:gd name="connsiteY20" fmla="*/ 45119 h 2102966"/>
              <a:gd name="connsiteX21" fmla="*/ 0 w 2242827"/>
              <a:gd name="connsiteY21" fmla="*/ 1735650 h 2102966"/>
              <a:gd name="connsiteX22" fmla="*/ 0 w 2242827"/>
              <a:gd name="connsiteY22" fmla="*/ 1713374 h 2102966"/>
              <a:gd name="connsiteX23" fmla="*/ 1851022 w 2242827"/>
              <a:gd name="connsiteY23" fmla="*/ 42848 h 2102966"/>
              <a:gd name="connsiteX24" fmla="*/ 1730668 w 2242827"/>
              <a:gd name="connsiteY24" fmla="*/ 0 h 2102966"/>
              <a:gd name="connsiteX25" fmla="*/ 1753056 w 2242827"/>
              <a:gd name="connsiteY25" fmla="*/ 0 h 2102966"/>
              <a:gd name="connsiteX26" fmla="*/ 1751404 w 2242827"/>
              <a:gd name="connsiteY26" fmla="*/ 32610 h 2102966"/>
              <a:gd name="connsiteX27" fmla="*/ 0 w 2242827"/>
              <a:gd name="connsiteY27" fmla="*/ 1613232 h 2102966"/>
              <a:gd name="connsiteX28" fmla="*/ 0 w 2242827"/>
              <a:gd name="connsiteY28" fmla="*/ 1590961 h 2102966"/>
              <a:gd name="connsiteX29" fmla="*/ 1729127 w 2242827"/>
              <a:gd name="connsiteY29" fmla="*/ 30432 h 2102966"/>
              <a:gd name="connsiteX30" fmla="*/ 1608247 w 2242827"/>
              <a:gd name="connsiteY30" fmla="*/ 0 h 2102966"/>
              <a:gd name="connsiteX31" fmla="*/ 1630525 w 2242827"/>
              <a:gd name="connsiteY31" fmla="*/ 0 h 2102966"/>
              <a:gd name="connsiteX32" fmla="*/ 1629507 w 2242827"/>
              <a:gd name="connsiteY32" fmla="*/ 20086 h 2102966"/>
              <a:gd name="connsiteX33" fmla="*/ 0 w 2242827"/>
              <a:gd name="connsiteY33" fmla="*/ 1490712 h 2102966"/>
              <a:gd name="connsiteX34" fmla="*/ 0 w 2242827"/>
              <a:gd name="connsiteY34" fmla="*/ 1468436 h 2102966"/>
              <a:gd name="connsiteX35" fmla="*/ 1607345 w 2242827"/>
              <a:gd name="connsiteY35" fmla="*/ 17816 h 2102966"/>
              <a:gd name="connsiteX36" fmla="*/ 1485833 w 2242827"/>
              <a:gd name="connsiteY36" fmla="*/ 0 h 2102966"/>
              <a:gd name="connsiteX37" fmla="*/ 1508109 w 2242827"/>
              <a:gd name="connsiteY37" fmla="*/ 0 h 2102966"/>
              <a:gd name="connsiteX38" fmla="*/ 1507724 w 2242827"/>
              <a:gd name="connsiteY38" fmla="*/ 7596 h 2102966"/>
              <a:gd name="connsiteX39" fmla="*/ 0 w 2242827"/>
              <a:gd name="connsiteY39" fmla="*/ 1368317 h 2102966"/>
              <a:gd name="connsiteX40" fmla="*/ 0 w 2242827"/>
              <a:gd name="connsiteY40" fmla="*/ 1346041 h 2102966"/>
              <a:gd name="connsiteX41" fmla="*/ 1485563 w 2242827"/>
              <a:gd name="connsiteY41" fmla="*/ 5325 h 2102966"/>
              <a:gd name="connsiteX42" fmla="*/ 1362591 w 2242827"/>
              <a:gd name="connsiteY42" fmla="*/ 0 h 2102966"/>
              <a:gd name="connsiteX43" fmla="*/ 1385194 w 2242827"/>
              <a:gd name="connsiteY43" fmla="*/ 0 h 2102966"/>
              <a:gd name="connsiteX44" fmla="*/ 1364797 w 2242827"/>
              <a:gd name="connsiteY44" fmla="*/ 133264 h 2102966"/>
              <a:gd name="connsiteX45" fmla="*/ 0 w 2242827"/>
              <a:gd name="connsiteY45" fmla="*/ 1245917 h 2102966"/>
              <a:gd name="connsiteX46" fmla="*/ 0 w 2242827"/>
              <a:gd name="connsiteY46" fmla="*/ 1223641 h 2102966"/>
              <a:gd name="connsiteX47" fmla="*/ 1342864 w 2242827"/>
              <a:gd name="connsiteY47" fmla="*/ 128894 h 2102966"/>
              <a:gd name="connsiteX48" fmla="*/ 1238878 w 2242827"/>
              <a:gd name="connsiteY48" fmla="*/ 0 h 2102966"/>
              <a:gd name="connsiteX49" fmla="*/ 1261388 w 2242827"/>
              <a:gd name="connsiteY49" fmla="*/ 0 h 2102966"/>
              <a:gd name="connsiteX50" fmla="*/ 1244763 w 2242827"/>
              <a:gd name="connsiteY50" fmla="*/ 108614 h 2102966"/>
              <a:gd name="connsiteX51" fmla="*/ 0 w 2242827"/>
              <a:gd name="connsiteY51" fmla="*/ 1123397 h 2102966"/>
              <a:gd name="connsiteX52" fmla="*/ 0 w 2242827"/>
              <a:gd name="connsiteY52" fmla="*/ 1101121 h 2102966"/>
              <a:gd name="connsiteX53" fmla="*/ 1222940 w 2242827"/>
              <a:gd name="connsiteY53" fmla="*/ 104135 h 2102966"/>
              <a:gd name="connsiteX54" fmla="*/ 1115178 w 2242827"/>
              <a:gd name="connsiteY54" fmla="*/ 0 h 2102966"/>
              <a:gd name="connsiteX55" fmla="*/ 1137688 w 2242827"/>
              <a:gd name="connsiteY55" fmla="*/ 0 h 2102966"/>
              <a:gd name="connsiteX56" fmla="*/ 1124836 w 2242827"/>
              <a:gd name="connsiteY56" fmla="*/ 83962 h 2102966"/>
              <a:gd name="connsiteX57" fmla="*/ 0 w 2242827"/>
              <a:gd name="connsiteY57" fmla="*/ 1000978 h 2102966"/>
              <a:gd name="connsiteX58" fmla="*/ 0 w 2242827"/>
              <a:gd name="connsiteY58" fmla="*/ 978703 h 2102966"/>
              <a:gd name="connsiteX59" fmla="*/ 1103012 w 2242827"/>
              <a:gd name="connsiteY59" fmla="*/ 79485 h 2102966"/>
              <a:gd name="connsiteX60" fmla="*/ 991375 w 2242827"/>
              <a:gd name="connsiteY60" fmla="*/ 0 h 2102966"/>
              <a:gd name="connsiteX61" fmla="*/ 1013997 w 2242827"/>
              <a:gd name="connsiteY61" fmla="*/ 0 h 2102966"/>
              <a:gd name="connsiteX62" fmla="*/ 1004915 w 2242827"/>
              <a:gd name="connsiteY62" fmla="*/ 59331 h 2102966"/>
              <a:gd name="connsiteX63" fmla="*/ 0 w 2242827"/>
              <a:gd name="connsiteY63" fmla="*/ 878583 h 2102966"/>
              <a:gd name="connsiteX64" fmla="*/ 0 w 2242827"/>
              <a:gd name="connsiteY64" fmla="*/ 856307 h 2102966"/>
              <a:gd name="connsiteX65" fmla="*/ 982981 w 2242827"/>
              <a:gd name="connsiteY65" fmla="*/ 54853 h 2102966"/>
              <a:gd name="connsiteX66" fmla="*/ 866108 w 2242827"/>
              <a:gd name="connsiteY66" fmla="*/ 0 h 2102966"/>
              <a:gd name="connsiteX67" fmla="*/ 888384 w 2242827"/>
              <a:gd name="connsiteY67" fmla="*/ 0 h 2102966"/>
              <a:gd name="connsiteX68" fmla="*/ 884876 w 2242827"/>
              <a:gd name="connsiteY68" fmla="*/ 34680 h 2102966"/>
              <a:gd name="connsiteX69" fmla="*/ 0 w 2242827"/>
              <a:gd name="connsiteY69" fmla="*/ 756058 h 2102966"/>
              <a:gd name="connsiteX70" fmla="*/ 0 w 2242827"/>
              <a:gd name="connsiteY70" fmla="*/ 733782 h 2102966"/>
              <a:gd name="connsiteX71" fmla="*/ 863057 w 2242827"/>
              <a:gd name="connsiteY71" fmla="*/ 30169 h 2102966"/>
              <a:gd name="connsiteX72" fmla="*/ 743692 w 2242827"/>
              <a:gd name="connsiteY72" fmla="*/ 0 h 2102966"/>
              <a:gd name="connsiteX73" fmla="*/ 765973 w 2242827"/>
              <a:gd name="connsiteY73" fmla="*/ 0 h 2102966"/>
              <a:gd name="connsiteX74" fmla="*/ 764957 w 2242827"/>
              <a:gd name="connsiteY74" fmla="*/ 10048 h 2102966"/>
              <a:gd name="connsiteX75" fmla="*/ 0 w 2242827"/>
              <a:gd name="connsiteY75" fmla="*/ 633662 h 2102966"/>
              <a:gd name="connsiteX76" fmla="*/ 0 w 2242827"/>
              <a:gd name="connsiteY76" fmla="*/ 611386 h 2102966"/>
              <a:gd name="connsiteX77" fmla="*/ 743129 w 2242827"/>
              <a:gd name="connsiteY77" fmla="*/ 5570 h 2102966"/>
              <a:gd name="connsiteX78" fmla="*/ 617163 w 2242827"/>
              <a:gd name="connsiteY78" fmla="*/ 0 h 2102966"/>
              <a:gd name="connsiteX79" fmla="*/ 640489 w 2242827"/>
              <a:gd name="connsiteY79" fmla="*/ 0 h 2102966"/>
              <a:gd name="connsiteX80" fmla="*/ 606611 w 2242827"/>
              <a:gd name="connsiteY80" fmla="*/ 108906 h 2102966"/>
              <a:gd name="connsiteX81" fmla="*/ 0 w 2242827"/>
              <a:gd name="connsiteY81" fmla="*/ 511248 h 2102966"/>
              <a:gd name="connsiteX82" fmla="*/ 0 w 2242827"/>
              <a:gd name="connsiteY82" fmla="*/ 488972 h 2102966"/>
              <a:gd name="connsiteX83" fmla="*/ 585980 w 2242827"/>
              <a:gd name="connsiteY83" fmla="*/ 100252 h 2102966"/>
              <a:gd name="connsiteX84" fmla="*/ 489561 w 2242827"/>
              <a:gd name="connsiteY84" fmla="*/ 0 h 2102966"/>
              <a:gd name="connsiteX85" fmla="*/ 512789 w 2242827"/>
              <a:gd name="connsiteY85" fmla="*/ 0 h 2102966"/>
              <a:gd name="connsiteX86" fmla="*/ 493721 w 2242827"/>
              <a:gd name="connsiteY86" fmla="*/ 61289 h 2102966"/>
              <a:gd name="connsiteX87" fmla="*/ 0 w 2242827"/>
              <a:gd name="connsiteY87" fmla="*/ 388735 h 2102966"/>
              <a:gd name="connsiteX88" fmla="*/ 0 w 2242827"/>
              <a:gd name="connsiteY88" fmla="*/ 366459 h 2102966"/>
              <a:gd name="connsiteX89" fmla="*/ 473199 w 2242827"/>
              <a:gd name="connsiteY89" fmla="*/ 52587 h 2102966"/>
              <a:gd name="connsiteX90" fmla="*/ 361966 w 2242827"/>
              <a:gd name="connsiteY90" fmla="*/ 0 h 2102966"/>
              <a:gd name="connsiteX91" fmla="*/ 385181 w 2242827"/>
              <a:gd name="connsiteY91" fmla="*/ 0 h 2102966"/>
              <a:gd name="connsiteX92" fmla="*/ 380937 w 2242827"/>
              <a:gd name="connsiteY92" fmla="*/ 13636 h 2102966"/>
              <a:gd name="connsiteX93" fmla="*/ 0 w 2242827"/>
              <a:gd name="connsiteY93" fmla="*/ 266328 h 2102966"/>
              <a:gd name="connsiteX94" fmla="*/ 0 w 2242827"/>
              <a:gd name="connsiteY94" fmla="*/ 244052 h 2102966"/>
              <a:gd name="connsiteX95" fmla="*/ 360416 w 2242827"/>
              <a:gd name="connsiteY95" fmla="*/ 4982 h 2102966"/>
              <a:gd name="connsiteX96" fmla="*/ 218905 w 2242827"/>
              <a:gd name="connsiteY96" fmla="*/ 0 h 2102966"/>
              <a:gd name="connsiteX97" fmla="*/ 249720 w 2242827"/>
              <a:gd name="connsiteY97" fmla="*/ 0 h 2102966"/>
              <a:gd name="connsiteX98" fmla="*/ 241311 w 2242827"/>
              <a:gd name="connsiteY98" fmla="*/ 15475 h 2102966"/>
              <a:gd name="connsiteX99" fmla="*/ 0 w 2242827"/>
              <a:gd name="connsiteY99" fmla="*/ 143932 h 2102966"/>
              <a:gd name="connsiteX100" fmla="*/ 0 w 2242827"/>
              <a:gd name="connsiteY100" fmla="*/ 121656 h 2102966"/>
              <a:gd name="connsiteX101" fmla="*/ 189966 w 2242827"/>
              <a:gd name="connsiteY101" fmla="*/ 42875 h 21029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</a:cxnLst>
            <a:rect l="l" t="t" r="r" b="b"/>
            <a:pathLst>
              <a:path w="2242827" h="2102966">
                <a:moveTo>
                  <a:pt x="2220549" y="0"/>
                </a:moveTo>
                <a:lnTo>
                  <a:pt x="2242827" y="0"/>
                </a:lnTo>
                <a:lnTo>
                  <a:pt x="2238641" y="82607"/>
                </a:lnTo>
                <a:cubicBezTo>
                  <a:pt x="2123193" y="1215807"/>
                  <a:pt x="1163255" y="2102966"/>
                  <a:pt x="1" y="2102966"/>
                </a:cubicBezTo>
                <a:lnTo>
                  <a:pt x="1" y="2080690"/>
                </a:lnTo>
                <a:cubicBezTo>
                  <a:pt x="1151759" y="2080690"/>
                  <a:pt x="2102176" y="1202330"/>
                  <a:pt x="2216479" y="80336"/>
                </a:cubicBezTo>
                <a:close/>
                <a:moveTo>
                  <a:pt x="2098030" y="0"/>
                </a:moveTo>
                <a:lnTo>
                  <a:pt x="2120412" y="0"/>
                </a:lnTo>
                <a:lnTo>
                  <a:pt x="2116859" y="70117"/>
                </a:lnTo>
                <a:cubicBezTo>
                  <a:pt x="2007691" y="1141666"/>
                  <a:pt x="1099966" y="1980571"/>
                  <a:pt x="1" y="1980571"/>
                </a:cubicBezTo>
                <a:lnTo>
                  <a:pt x="1" y="1958295"/>
                </a:lnTo>
                <a:cubicBezTo>
                  <a:pt x="1088470" y="1958295"/>
                  <a:pt x="1986577" y="1128187"/>
                  <a:pt x="2094588" y="67938"/>
                </a:cubicBezTo>
                <a:close/>
                <a:moveTo>
                  <a:pt x="1975608" y="0"/>
                </a:moveTo>
                <a:lnTo>
                  <a:pt x="1997887" y="0"/>
                </a:lnTo>
                <a:lnTo>
                  <a:pt x="1994968" y="57611"/>
                </a:lnTo>
                <a:cubicBezTo>
                  <a:pt x="1892090" y="1067493"/>
                  <a:pt x="1036676" y="1858047"/>
                  <a:pt x="1" y="1858047"/>
                </a:cubicBezTo>
                <a:lnTo>
                  <a:pt x="1" y="1835771"/>
                </a:lnTo>
                <a:cubicBezTo>
                  <a:pt x="1025181" y="1835771"/>
                  <a:pt x="1871073" y="1053919"/>
                  <a:pt x="1972805" y="55322"/>
                </a:cubicBezTo>
                <a:close/>
                <a:moveTo>
                  <a:pt x="1853193" y="0"/>
                </a:moveTo>
                <a:lnTo>
                  <a:pt x="1875472" y="0"/>
                </a:lnTo>
                <a:lnTo>
                  <a:pt x="1873186" y="45119"/>
                </a:lnTo>
                <a:cubicBezTo>
                  <a:pt x="1776588" y="993350"/>
                  <a:pt x="973388" y="1735650"/>
                  <a:pt x="0" y="1735650"/>
                </a:cubicBezTo>
                <a:lnTo>
                  <a:pt x="0" y="1713374"/>
                </a:lnTo>
                <a:cubicBezTo>
                  <a:pt x="961784" y="1713374"/>
                  <a:pt x="1755557" y="979877"/>
                  <a:pt x="1851022" y="42848"/>
                </a:cubicBezTo>
                <a:close/>
                <a:moveTo>
                  <a:pt x="1730668" y="0"/>
                </a:moveTo>
                <a:lnTo>
                  <a:pt x="1753056" y="0"/>
                </a:lnTo>
                <a:lnTo>
                  <a:pt x="1751404" y="32610"/>
                </a:lnTo>
                <a:cubicBezTo>
                  <a:pt x="1661086" y="919190"/>
                  <a:pt x="910098" y="1613232"/>
                  <a:pt x="0" y="1613232"/>
                </a:cubicBezTo>
                <a:lnTo>
                  <a:pt x="0" y="1590961"/>
                </a:lnTo>
                <a:cubicBezTo>
                  <a:pt x="898495" y="1590961"/>
                  <a:pt x="1639954" y="905712"/>
                  <a:pt x="1729127" y="30432"/>
                </a:cubicBezTo>
                <a:close/>
                <a:moveTo>
                  <a:pt x="1608247" y="0"/>
                </a:moveTo>
                <a:lnTo>
                  <a:pt x="1630525" y="0"/>
                </a:lnTo>
                <a:lnTo>
                  <a:pt x="1629507" y="20086"/>
                </a:lnTo>
                <a:cubicBezTo>
                  <a:pt x="1545469" y="844919"/>
                  <a:pt x="846701" y="1490712"/>
                  <a:pt x="0" y="1490712"/>
                </a:cubicBezTo>
                <a:lnTo>
                  <a:pt x="0" y="1468436"/>
                </a:lnTo>
                <a:cubicBezTo>
                  <a:pt x="835206" y="1468436"/>
                  <a:pt x="1524451" y="831445"/>
                  <a:pt x="1607345" y="17816"/>
                </a:cubicBezTo>
                <a:close/>
                <a:moveTo>
                  <a:pt x="1485833" y="0"/>
                </a:moveTo>
                <a:lnTo>
                  <a:pt x="1508109" y="0"/>
                </a:lnTo>
                <a:lnTo>
                  <a:pt x="1507724" y="7596"/>
                </a:lnTo>
                <a:cubicBezTo>
                  <a:pt x="1429966" y="770778"/>
                  <a:pt x="783416" y="1368317"/>
                  <a:pt x="0" y="1368317"/>
                </a:cubicBezTo>
                <a:lnTo>
                  <a:pt x="0" y="1346041"/>
                </a:lnTo>
                <a:cubicBezTo>
                  <a:pt x="771917" y="1346041"/>
                  <a:pt x="1408949" y="757304"/>
                  <a:pt x="1485563" y="5325"/>
                </a:cubicBezTo>
                <a:close/>
                <a:moveTo>
                  <a:pt x="1362591" y="0"/>
                </a:moveTo>
                <a:lnTo>
                  <a:pt x="1385194" y="0"/>
                </a:lnTo>
                <a:lnTo>
                  <a:pt x="1364797" y="133264"/>
                </a:lnTo>
                <a:cubicBezTo>
                  <a:pt x="1234684" y="767432"/>
                  <a:pt x="672215" y="1245917"/>
                  <a:pt x="0" y="1245917"/>
                </a:cubicBezTo>
                <a:lnTo>
                  <a:pt x="0" y="1223641"/>
                </a:lnTo>
                <a:cubicBezTo>
                  <a:pt x="661385" y="1223641"/>
                  <a:pt x="1214835" y="752908"/>
                  <a:pt x="1342864" y="128894"/>
                </a:cubicBezTo>
                <a:close/>
                <a:moveTo>
                  <a:pt x="1238878" y="0"/>
                </a:moveTo>
                <a:lnTo>
                  <a:pt x="1261388" y="0"/>
                </a:lnTo>
                <a:lnTo>
                  <a:pt x="1244763" y="108614"/>
                </a:lnTo>
                <a:cubicBezTo>
                  <a:pt x="1126083" y="687031"/>
                  <a:pt x="613049" y="1123397"/>
                  <a:pt x="0" y="1123397"/>
                </a:cubicBezTo>
                <a:lnTo>
                  <a:pt x="0" y="1101121"/>
                </a:lnTo>
                <a:cubicBezTo>
                  <a:pt x="602316" y="1101121"/>
                  <a:pt x="1106344" y="672419"/>
                  <a:pt x="1222940" y="104135"/>
                </a:cubicBezTo>
                <a:close/>
                <a:moveTo>
                  <a:pt x="1115178" y="0"/>
                </a:moveTo>
                <a:lnTo>
                  <a:pt x="1137688" y="0"/>
                </a:lnTo>
                <a:lnTo>
                  <a:pt x="1124836" y="83962"/>
                </a:lnTo>
                <a:cubicBezTo>
                  <a:pt x="1017592" y="606647"/>
                  <a:pt x="553979" y="1000978"/>
                  <a:pt x="0" y="1000978"/>
                </a:cubicBezTo>
                <a:lnTo>
                  <a:pt x="0" y="978703"/>
                </a:lnTo>
                <a:cubicBezTo>
                  <a:pt x="543246" y="978703"/>
                  <a:pt x="997852" y="592039"/>
                  <a:pt x="1103012" y="79485"/>
                </a:cubicBezTo>
                <a:close/>
                <a:moveTo>
                  <a:pt x="991375" y="0"/>
                </a:moveTo>
                <a:lnTo>
                  <a:pt x="1013997" y="0"/>
                </a:lnTo>
                <a:lnTo>
                  <a:pt x="1004915" y="59331"/>
                </a:lnTo>
                <a:cubicBezTo>
                  <a:pt x="909100" y="526286"/>
                  <a:pt x="494909" y="878583"/>
                  <a:pt x="0" y="878583"/>
                </a:cubicBezTo>
                <a:lnTo>
                  <a:pt x="0" y="856307"/>
                </a:lnTo>
                <a:cubicBezTo>
                  <a:pt x="484176" y="856307"/>
                  <a:pt x="889272" y="511676"/>
                  <a:pt x="982981" y="54853"/>
                </a:cubicBezTo>
                <a:close/>
                <a:moveTo>
                  <a:pt x="866108" y="0"/>
                </a:moveTo>
                <a:lnTo>
                  <a:pt x="888384" y="0"/>
                </a:lnTo>
                <a:lnTo>
                  <a:pt x="884876" y="34680"/>
                </a:lnTo>
                <a:cubicBezTo>
                  <a:pt x="800495" y="445883"/>
                  <a:pt x="435739" y="756058"/>
                  <a:pt x="0" y="756058"/>
                </a:cubicBezTo>
                <a:lnTo>
                  <a:pt x="0" y="733782"/>
                </a:lnTo>
                <a:cubicBezTo>
                  <a:pt x="425107" y="733782"/>
                  <a:pt x="780781" y="431187"/>
                  <a:pt x="863057" y="30169"/>
                </a:cubicBezTo>
                <a:close/>
                <a:moveTo>
                  <a:pt x="743692" y="0"/>
                </a:moveTo>
                <a:lnTo>
                  <a:pt x="765973" y="0"/>
                </a:lnTo>
                <a:lnTo>
                  <a:pt x="764957" y="10048"/>
                </a:lnTo>
                <a:cubicBezTo>
                  <a:pt x="692029" y="365521"/>
                  <a:pt x="376767" y="633662"/>
                  <a:pt x="0" y="633662"/>
                </a:cubicBezTo>
                <a:lnTo>
                  <a:pt x="0" y="611386"/>
                </a:lnTo>
                <a:cubicBezTo>
                  <a:pt x="365938" y="611386"/>
                  <a:pt x="672265" y="350911"/>
                  <a:pt x="743129" y="5570"/>
                </a:cubicBezTo>
                <a:close/>
                <a:moveTo>
                  <a:pt x="617163" y="0"/>
                </a:moveTo>
                <a:lnTo>
                  <a:pt x="640489" y="0"/>
                </a:lnTo>
                <a:lnTo>
                  <a:pt x="606611" y="108906"/>
                </a:lnTo>
                <a:cubicBezTo>
                  <a:pt x="506524" y="345128"/>
                  <a:pt x="272312" y="511248"/>
                  <a:pt x="0" y="511248"/>
                </a:cubicBezTo>
                <a:lnTo>
                  <a:pt x="0" y="488972"/>
                </a:lnTo>
                <a:cubicBezTo>
                  <a:pt x="263030" y="488972"/>
                  <a:pt x="489290" y="328485"/>
                  <a:pt x="585980" y="100252"/>
                </a:cubicBezTo>
                <a:close/>
                <a:moveTo>
                  <a:pt x="489561" y="0"/>
                </a:moveTo>
                <a:lnTo>
                  <a:pt x="512789" y="0"/>
                </a:lnTo>
                <a:lnTo>
                  <a:pt x="493721" y="61289"/>
                </a:lnTo>
                <a:cubicBezTo>
                  <a:pt x="412246" y="253561"/>
                  <a:pt x="221597" y="388735"/>
                  <a:pt x="0" y="388735"/>
                </a:cubicBezTo>
                <a:lnTo>
                  <a:pt x="0" y="366459"/>
                </a:lnTo>
                <a:cubicBezTo>
                  <a:pt x="212399" y="366459"/>
                  <a:pt x="395116" y="236854"/>
                  <a:pt x="473199" y="52587"/>
                </a:cubicBezTo>
                <a:close/>
                <a:moveTo>
                  <a:pt x="361966" y="0"/>
                </a:moveTo>
                <a:lnTo>
                  <a:pt x="385181" y="0"/>
                </a:lnTo>
                <a:lnTo>
                  <a:pt x="380937" y="13636"/>
                </a:lnTo>
                <a:cubicBezTo>
                  <a:pt x="318070" y="161973"/>
                  <a:pt x="170965" y="266328"/>
                  <a:pt x="0" y="266328"/>
                </a:cubicBezTo>
                <a:lnTo>
                  <a:pt x="0" y="244052"/>
                </a:lnTo>
                <a:cubicBezTo>
                  <a:pt x="161767" y="244052"/>
                  <a:pt x="300940" y="145329"/>
                  <a:pt x="360416" y="4982"/>
                </a:cubicBezTo>
                <a:close/>
                <a:moveTo>
                  <a:pt x="218905" y="0"/>
                </a:moveTo>
                <a:lnTo>
                  <a:pt x="249720" y="0"/>
                </a:lnTo>
                <a:lnTo>
                  <a:pt x="241311" y="15475"/>
                </a:lnTo>
                <a:cubicBezTo>
                  <a:pt x="188962" y="92909"/>
                  <a:pt x="100349" y="143932"/>
                  <a:pt x="0" y="143932"/>
                </a:cubicBezTo>
                <a:lnTo>
                  <a:pt x="0" y="121656"/>
                </a:lnTo>
                <a:cubicBezTo>
                  <a:pt x="74091" y="121656"/>
                  <a:pt x="141290" y="91533"/>
                  <a:pt x="189966" y="42875"/>
                </a:cubicBezTo>
                <a:close/>
              </a:path>
            </a:pathLst>
          </a:custGeom>
          <a:solidFill>
            <a:schemeClr val="accent3">
              <a:lumMod val="20000"/>
              <a:lumOff val="80000"/>
            </a:schemeClr>
          </a:solidFill>
          <a:ln w="4588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>
              <a:solidFill>
                <a:schemeClr val="tx1"/>
              </a:solidFill>
            </a:endParaRP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95243571-BE64-3777-F992-88FC43A60537}"/>
              </a:ext>
            </a:extLst>
          </p:cNvPr>
          <p:cNvSpPr/>
          <p:nvPr userDrawn="1"/>
        </p:nvSpPr>
        <p:spPr>
          <a:xfrm flipH="1" flipV="1">
            <a:off x="9949173" y="4755034"/>
            <a:ext cx="2242827" cy="2102966"/>
          </a:xfrm>
          <a:custGeom>
            <a:avLst/>
            <a:gdLst>
              <a:gd name="connsiteX0" fmla="*/ 2220549 w 2242827"/>
              <a:gd name="connsiteY0" fmla="*/ 0 h 2102966"/>
              <a:gd name="connsiteX1" fmla="*/ 2242827 w 2242827"/>
              <a:gd name="connsiteY1" fmla="*/ 0 h 2102966"/>
              <a:gd name="connsiteX2" fmla="*/ 2238641 w 2242827"/>
              <a:gd name="connsiteY2" fmla="*/ 82607 h 2102966"/>
              <a:gd name="connsiteX3" fmla="*/ 1 w 2242827"/>
              <a:gd name="connsiteY3" fmla="*/ 2102966 h 2102966"/>
              <a:gd name="connsiteX4" fmla="*/ 1 w 2242827"/>
              <a:gd name="connsiteY4" fmla="*/ 2080690 h 2102966"/>
              <a:gd name="connsiteX5" fmla="*/ 2216479 w 2242827"/>
              <a:gd name="connsiteY5" fmla="*/ 80336 h 2102966"/>
              <a:gd name="connsiteX6" fmla="*/ 2098030 w 2242827"/>
              <a:gd name="connsiteY6" fmla="*/ 0 h 2102966"/>
              <a:gd name="connsiteX7" fmla="*/ 2120412 w 2242827"/>
              <a:gd name="connsiteY7" fmla="*/ 0 h 2102966"/>
              <a:gd name="connsiteX8" fmla="*/ 2116859 w 2242827"/>
              <a:gd name="connsiteY8" fmla="*/ 70117 h 2102966"/>
              <a:gd name="connsiteX9" fmla="*/ 1 w 2242827"/>
              <a:gd name="connsiteY9" fmla="*/ 1980571 h 2102966"/>
              <a:gd name="connsiteX10" fmla="*/ 1 w 2242827"/>
              <a:gd name="connsiteY10" fmla="*/ 1958295 h 2102966"/>
              <a:gd name="connsiteX11" fmla="*/ 2094588 w 2242827"/>
              <a:gd name="connsiteY11" fmla="*/ 67938 h 2102966"/>
              <a:gd name="connsiteX12" fmla="*/ 1975608 w 2242827"/>
              <a:gd name="connsiteY12" fmla="*/ 0 h 2102966"/>
              <a:gd name="connsiteX13" fmla="*/ 1997887 w 2242827"/>
              <a:gd name="connsiteY13" fmla="*/ 0 h 2102966"/>
              <a:gd name="connsiteX14" fmla="*/ 1994968 w 2242827"/>
              <a:gd name="connsiteY14" fmla="*/ 57611 h 2102966"/>
              <a:gd name="connsiteX15" fmla="*/ 1 w 2242827"/>
              <a:gd name="connsiteY15" fmla="*/ 1858047 h 2102966"/>
              <a:gd name="connsiteX16" fmla="*/ 1 w 2242827"/>
              <a:gd name="connsiteY16" fmla="*/ 1835771 h 2102966"/>
              <a:gd name="connsiteX17" fmla="*/ 1972805 w 2242827"/>
              <a:gd name="connsiteY17" fmla="*/ 55322 h 2102966"/>
              <a:gd name="connsiteX18" fmla="*/ 1853193 w 2242827"/>
              <a:gd name="connsiteY18" fmla="*/ 0 h 2102966"/>
              <a:gd name="connsiteX19" fmla="*/ 1875472 w 2242827"/>
              <a:gd name="connsiteY19" fmla="*/ 0 h 2102966"/>
              <a:gd name="connsiteX20" fmla="*/ 1873186 w 2242827"/>
              <a:gd name="connsiteY20" fmla="*/ 45119 h 2102966"/>
              <a:gd name="connsiteX21" fmla="*/ 0 w 2242827"/>
              <a:gd name="connsiteY21" fmla="*/ 1735650 h 2102966"/>
              <a:gd name="connsiteX22" fmla="*/ 0 w 2242827"/>
              <a:gd name="connsiteY22" fmla="*/ 1713374 h 2102966"/>
              <a:gd name="connsiteX23" fmla="*/ 1851022 w 2242827"/>
              <a:gd name="connsiteY23" fmla="*/ 42848 h 2102966"/>
              <a:gd name="connsiteX24" fmla="*/ 1730668 w 2242827"/>
              <a:gd name="connsiteY24" fmla="*/ 0 h 2102966"/>
              <a:gd name="connsiteX25" fmla="*/ 1753056 w 2242827"/>
              <a:gd name="connsiteY25" fmla="*/ 0 h 2102966"/>
              <a:gd name="connsiteX26" fmla="*/ 1751404 w 2242827"/>
              <a:gd name="connsiteY26" fmla="*/ 32610 h 2102966"/>
              <a:gd name="connsiteX27" fmla="*/ 0 w 2242827"/>
              <a:gd name="connsiteY27" fmla="*/ 1613232 h 2102966"/>
              <a:gd name="connsiteX28" fmla="*/ 0 w 2242827"/>
              <a:gd name="connsiteY28" fmla="*/ 1590961 h 2102966"/>
              <a:gd name="connsiteX29" fmla="*/ 1729127 w 2242827"/>
              <a:gd name="connsiteY29" fmla="*/ 30432 h 2102966"/>
              <a:gd name="connsiteX30" fmla="*/ 1608247 w 2242827"/>
              <a:gd name="connsiteY30" fmla="*/ 0 h 2102966"/>
              <a:gd name="connsiteX31" fmla="*/ 1630525 w 2242827"/>
              <a:gd name="connsiteY31" fmla="*/ 0 h 2102966"/>
              <a:gd name="connsiteX32" fmla="*/ 1629507 w 2242827"/>
              <a:gd name="connsiteY32" fmla="*/ 20086 h 2102966"/>
              <a:gd name="connsiteX33" fmla="*/ 0 w 2242827"/>
              <a:gd name="connsiteY33" fmla="*/ 1490712 h 2102966"/>
              <a:gd name="connsiteX34" fmla="*/ 0 w 2242827"/>
              <a:gd name="connsiteY34" fmla="*/ 1468436 h 2102966"/>
              <a:gd name="connsiteX35" fmla="*/ 1607345 w 2242827"/>
              <a:gd name="connsiteY35" fmla="*/ 17816 h 2102966"/>
              <a:gd name="connsiteX36" fmla="*/ 1485833 w 2242827"/>
              <a:gd name="connsiteY36" fmla="*/ 0 h 2102966"/>
              <a:gd name="connsiteX37" fmla="*/ 1508109 w 2242827"/>
              <a:gd name="connsiteY37" fmla="*/ 0 h 2102966"/>
              <a:gd name="connsiteX38" fmla="*/ 1507724 w 2242827"/>
              <a:gd name="connsiteY38" fmla="*/ 7596 h 2102966"/>
              <a:gd name="connsiteX39" fmla="*/ 0 w 2242827"/>
              <a:gd name="connsiteY39" fmla="*/ 1368317 h 2102966"/>
              <a:gd name="connsiteX40" fmla="*/ 0 w 2242827"/>
              <a:gd name="connsiteY40" fmla="*/ 1346041 h 2102966"/>
              <a:gd name="connsiteX41" fmla="*/ 1485563 w 2242827"/>
              <a:gd name="connsiteY41" fmla="*/ 5325 h 2102966"/>
              <a:gd name="connsiteX42" fmla="*/ 1362591 w 2242827"/>
              <a:gd name="connsiteY42" fmla="*/ 0 h 2102966"/>
              <a:gd name="connsiteX43" fmla="*/ 1385194 w 2242827"/>
              <a:gd name="connsiteY43" fmla="*/ 0 h 2102966"/>
              <a:gd name="connsiteX44" fmla="*/ 1364797 w 2242827"/>
              <a:gd name="connsiteY44" fmla="*/ 133264 h 2102966"/>
              <a:gd name="connsiteX45" fmla="*/ 0 w 2242827"/>
              <a:gd name="connsiteY45" fmla="*/ 1245917 h 2102966"/>
              <a:gd name="connsiteX46" fmla="*/ 0 w 2242827"/>
              <a:gd name="connsiteY46" fmla="*/ 1223641 h 2102966"/>
              <a:gd name="connsiteX47" fmla="*/ 1342864 w 2242827"/>
              <a:gd name="connsiteY47" fmla="*/ 128894 h 2102966"/>
              <a:gd name="connsiteX48" fmla="*/ 1238878 w 2242827"/>
              <a:gd name="connsiteY48" fmla="*/ 0 h 2102966"/>
              <a:gd name="connsiteX49" fmla="*/ 1261388 w 2242827"/>
              <a:gd name="connsiteY49" fmla="*/ 0 h 2102966"/>
              <a:gd name="connsiteX50" fmla="*/ 1244763 w 2242827"/>
              <a:gd name="connsiteY50" fmla="*/ 108614 h 2102966"/>
              <a:gd name="connsiteX51" fmla="*/ 0 w 2242827"/>
              <a:gd name="connsiteY51" fmla="*/ 1123397 h 2102966"/>
              <a:gd name="connsiteX52" fmla="*/ 0 w 2242827"/>
              <a:gd name="connsiteY52" fmla="*/ 1101121 h 2102966"/>
              <a:gd name="connsiteX53" fmla="*/ 1222940 w 2242827"/>
              <a:gd name="connsiteY53" fmla="*/ 104135 h 2102966"/>
              <a:gd name="connsiteX54" fmla="*/ 1115178 w 2242827"/>
              <a:gd name="connsiteY54" fmla="*/ 0 h 2102966"/>
              <a:gd name="connsiteX55" fmla="*/ 1137688 w 2242827"/>
              <a:gd name="connsiteY55" fmla="*/ 0 h 2102966"/>
              <a:gd name="connsiteX56" fmla="*/ 1124836 w 2242827"/>
              <a:gd name="connsiteY56" fmla="*/ 83962 h 2102966"/>
              <a:gd name="connsiteX57" fmla="*/ 0 w 2242827"/>
              <a:gd name="connsiteY57" fmla="*/ 1000978 h 2102966"/>
              <a:gd name="connsiteX58" fmla="*/ 0 w 2242827"/>
              <a:gd name="connsiteY58" fmla="*/ 978703 h 2102966"/>
              <a:gd name="connsiteX59" fmla="*/ 1103012 w 2242827"/>
              <a:gd name="connsiteY59" fmla="*/ 79485 h 2102966"/>
              <a:gd name="connsiteX60" fmla="*/ 991375 w 2242827"/>
              <a:gd name="connsiteY60" fmla="*/ 0 h 2102966"/>
              <a:gd name="connsiteX61" fmla="*/ 1013997 w 2242827"/>
              <a:gd name="connsiteY61" fmla="*/ 0 h 2102966"/>
              <a:gd name="connsiteX62" fmla="*/ 1004915 w 2242827"/>
              <a:gd name="connsiteY62" fmla="*/ 59331 h 2102966"/>
              <a:gd name="connsiteX63" fmla="*/ 0 w 2242827"/>
              <a:gd name="connsiteY63" fmla="*/ 878583 h 2102966"/>
              <a:gd name="connsiteX64" fmla="*/ 0 w 2242827"/>
              <a:gd name="connsiteY64" fmla="*/ 856307 h 2102966"/>
              <a:gd name="connsiteX65" fmla="*/ 982981 w 2242827"/>
              <a:gd name="connsiteY65" fmla="*/ 54853 h 2102966"/>
              <a:gd name="connsiteX66" fmla="*/ 866108 w 2242827"/>
              <a:gd name="connsiteY66" fmla="*/ 0 h 2102966"/>
              <a:gd name="connsiteX67" fmla="*/ 888384 w 2242827"/>
              <a:gd name="connsiteY67" fmla="*/ 0 h 2102966"/>
              <a:gd name="connsiteX68" fmla="*/ 884876 w 2242827"/>
              <a:gd name="connsiteY68" fmla="*/ 34680 h 2102966"/>
              <a:gd name="connsiteX69" fmla="*/ 0 w 2242827"/>
              <a:gd name="connsiteY69" fmla="*/ 756058 h 2102966"/>
              <a:gd name="connsiteX70" fmla="*/ 0 w 2242827"/>
              <a:gd name="connsiteY70" fmla="*/ 733782 h 2102966"/>
              <a:gd name="connsiteX71" fmla="*/ 863057 w 2242827"/>
              <a:gd name="connsiteY71" fmla="*/ 30169 h 2102966"/>
              <a:gd name="connsiteX72" fmla="*/ 743692 w 2242827"/>
              <a:gd name="connsiteY72" fmla="*/ 0 h 2102966"/>
              <a:gd name="connsiteX73" fmla="*/ 765973 w 2242827"/>
              <a:gd name="connsiteY73" fmla="*/ 0 h 2102966"/>
              <a:gd name="connsiteX74" fmla="*/ 764957 w 2242827"/>
              <a:gd name="connsiteY74" fmla="*/ 10048 h 2102966"/>
              <a:gd name="connsiteX75" fmla="*/ 0 w 2242827"/>
              <a:gd name="connsiteY75" fmla="*/ 633662 h 2102966"/>
              <a:gd name="connsiteX76" fmla="*/ 0 w 2242827"/>
              <a:gd name="connsiteY76" fmla="*/ 611386 h 2102966"/>
              <a:gd name="connsiteX77" fmla="*/ 743129 w 2242827"/>
              <a:gd name="connsiteY77" fmla="*/ 5570 h 2102966"/>
              <a:gd name="connsiteX78" fmla="*/ 617163 w 2242827"/>
              <a:gd name="connsiteY78" fmla="*/ 0 h 2102966"/>
              <a:gd name="connsiteX79" fmla="*/ 640489 w 2242827"/>
              <a:gd name="connsiteY79" fmla="*/ 0 h 2102966"/>
              <a:gd name="connsiteX80" fmla="*/ 606611 w 2242827"/>
              <a:gd name="connsiteY80" fmla="*/ 108906 h 2102966"/>
              <a:gd name="connsiteX81" fmla="*/ 0 w 2242827"/>
              <a:gd name="connsiteY81" fmla="*/ 511248 h 2102966"/>
              <a:gd name="connsiteX82" fmla="*/ 0 w 2242827"/>
              <a:gd name="connsiteY82" fmla="*/ 488972 h 2102966"/>
              <a:gd name="connsiteX83" fmla="*/ 585980 w 2242827"/>
              <a:gd name="connsiteY83" fmla="*/ 100252 h 2102966"/>
              <a:gd name="connsiteX84" fmla="*/ 489561 w 2242827"/>
              <a:gd name="connsiteY84" fmla="*/ 0 h 2102966"/>
              <a:gd name="connsiteX85" fmla="*/ 512789 w 2242827"/>
              <a:gd name="connsiteY85" fmla="*/ 0 h 2102966"/>
              <a:gd name="connsiteX86" fmla="*/ 493721 w 2242827"/>
              <a:gd name="connsiteY86" fmla="*/ 61289 h 2102966"/>
              <a:gd name="connsiteX87" fmla="*/ 0 w 2242827"/>
              <a:gd name="connsiteY87" fmla="*/ 388735 h 2102966"/>
              <a:gd name="connsiteX88" fmla="*/ 0 w 2242827"/>
              <a:gd name="connsiteY88" fmla="*/ 366459 h 2102966"/>
              <a:gd name="connsiteX89" fmla="*/ 473199 w 2242827"/>
              <a:gd name="connsiteY89" fmla="*/ 52587 h 2102966"/>
              <a:gd name="connsiteX90" fmla="*/ 361966 w 2242827"/>
              <a:gd name="connsiteY90" fmla="*/ 0 h 2102966"/>
              <a:gd name="connsiteX91" fmla="*/ 385181 w 2242827"/>
              <a:gd name="connsiteY91" fmla="*/ 0 h 2102966"/>
              <a:gd name="connsiteX92" fmla="*/ 380937 w 2242827"/>
              <a:gd name="connsiteY92" fmla="*/ 13636 h 2102966"/>
              <a:gd name="connsiteX93" fmla="*/ 0 w 2242827"/>
              <a:gd name="connsiteY93" fmla="*/ 266328 h 2102966"/>
              <a:gd name="connsiteX94" fmla="*/ 0 w 2242827"/>
              <a:gd name="connsiteY94" fmla="*/ 244052 h 2102966"/>
              <a:gd name="connsiteX95" fmla="*/ 360416 w 2242827"/>
              <a:gd name="connsiteY95" fmla="*/ 4982 h 2102966"/>
              <a:gd name="connsiteX96" fmla="*/ 218905 w 2242827"/>
              <a:gd name="connsiteY96" fmla="*/ 0 h 2102966"/>
              <a:gd name="connsiteX97" fmla="*/ 249720 w 2242827"/>
              <a:gd name="connsiteY97" fmla="*/ 0 h 2102966"/>
              <a:gd name="connsiteX98" fmla="*/ 241311 w 2242827"/>
              <a:gd name="connsiteY98" fmla="*/ 15475 h 2102966"/>
              <a:gd name="connsiteX99" fmla="*/ 0 w 2242827"/>
              <a:gd name="connsiteY99" fmla="*/ 143932 h 2102966"/>
              <a:gd name="connsiteX100" fmla="*/ 0 w 2242827"/>
              <a:gd name="connsiteY100" fmla="*/ 121656 h 2102966"/>
              <a:gd name="connsiteX101" fmla="*/ 189966 w 2242827"/>
              <a:gd name="connsiteY101" fmla="*/ 42875 h 21029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</a:cxnLst>
            <a:rect l="l" t="t" r="r" b="b"/>
            <a:pathLst>
              <a:path w="2242827" h="2102966">
                <a:moveTo>
                  <a:pt x="2220549" y="0"/>
                </a:moveTo>
                <a:lnTo>
                  <a:pt x="2242827" y="0"/>
                </a:lnTo>
                <a:lnTo>
                  <a:pt x="2238641" y="82607"/>
                </a:lnTo>
                <a:cubicBezTo>
                  <a:pt x="2123193" y="1215807"/>
                  <a:pt x="1163255" y="2102966"/>
                  <a:pt x="1" y="2102966"/>
                </a:cubicBezTo>
                <a:lnTo>
                  <a:pt x="1" y="2080690"/>
                </a:lnTo>
                <a:cubicBezTo>
                  <a:pt x="1151759" y="2080690"/>
                  <a:pt x="2102176" y="1202330"/>
                  <a:pt x="2216479" y="80336"/>
                </a:cubicBezTo>
                <a:close/>
                <a:moveTo>
                  <a:pt x="2098030" y="0"/>
                </a:moveTo>
                <a:lnTo>
                  <a:pt x="2120412" y="0"/>
                </a:lnTo>
                <a:lnTo>
                  <a:pt x="2116859" y="70117"/>
                </a:lnTo>
                <a:cubicBezTo>
                  <a:pt x="2007691" y="1141666"/>
                  <a:pt x="1099966" y="1980571"/>
                  <a:pt x="1" y="1980571"/>
                </a:cubicBezTo>
                <a:lnTo>
                  <a:pt x="1" y="1958295"/>
                </a:lnTo>
                <a:cubicBezTo>
                  <a:pt x="1088470" y="1958295"/>
                  <a:pt x="1986577" y="1128187"/>
                  <a:pt x="2094588" y="67938"/>
                </a:cubicBezTo>
                <a:close/>
                <a:moveTo>
                  <a:pt x="1975608" y="0"/>
                </a:moveTo>
                <a:lnTo>
                  <a:pt x="1997887" y="0"/>
                </a:lnTo>
                <a:lnTo>
                  <a:pt x="1994968" y="57611"/>
                </a:lnTo>
                <a:cubicBezTo>
                  <a:pt x="1892090" y="1067493"/>
                  <a:pt x="1036676" y="1858047"/>
                  <a:pt x="1" y="1858047"/>
                </a:cubicBezTo>
                <a:lnTo>
                  <a:pt x="1" y="1835771"/>
                </a:lnTo>
                <a:cubicBezTo>
                  <a:pt x="1025181" y="1835771"/>
                  <a:pt x="1871073" y="1053919"/>
                  <a:pt x="1972805" y="55322"/>
                </a:cubicBezTo>
                <a:close/>
                <a:moveTo>
                  <a:pt x="1853193" y="0"/>
                </a:moveTo>
                <a:lnTo>
                  <a:pt x="1875472" y="0"/>
                </a:lnTo>
                <a:lnTo>
                  <a:pt x="1873186" y="45119"/>
                </a:lnTo>
                <a:cubicBezTo>
                  <a:pt x="1776588" y="993350"/>
                  <a:pt x="973388" y="1735650"/>
                  <a:pt x="0" y="1735650"/>
                </a:cubicBezTo>
                <a:lnTo>
                  <a:pt x="0" y="1713374"/>
                </a:lnTo>
                <a:cubicBezTo>
                  <a:pt x="961784" y="1713374"/>
                  <a:pt x="1755557" y="979877"/>
                  <a:pt x="1851022" y="42848"/>
                </a:cubicBezTo>
                <a:close/>
                <a:moveTo>
                  <a:pt x="1730668" y="0"/>
                </a:moveTo>
                <a:lnTo>
                  <a:pt x="1753056" y="0"/>
                </a:lnTo>
                <a:lnTo>
                  <a:pt x="1751404" y="32610"/>
                </a:lnTo>
                <a:cubicBezTo>
                  <a:pt x="1661086" y="919190"/>
                  <a:pt x="910098" y="1613232"/>
                  <a:pt x="0" y="1613232"/>
                </a:cubicBezTo>
                <a:lnTo>
                  <a:pt x="0" y="1590961"/>
                </a:lnTo>
                <a:cubicBezTo>
                  <a:pt x="898495" y="1590961"/>
                  <a:pt x="1639954" y="905712"/>
                  <a:pt x="1729127" y="30432"/>
                </a:cubicBezTo>
                <a:close/>
                <a:moveTo>
                  <a:pt x="1608247" y="0"/>
                </a:moveTo>
                <a:lnTo>
                  <a:pt x="1630525" y="0"/>
                </a:lnTo>
                <a:lnTo>
                  <a:pt x="1629507" y="20086"/>
                </a:lnTo>
                <a:cubicBezTo>
                  <a:pt x="1545469" y="844919"/>
                  <a:pt x="846701" y="1490712"/>
                  <a:pt x="0" y="1490712"/>
                </a:cubicBezTo>
                <a:lnTo>
                  <a:pt x="0" y="1468436"/>
                </a:lnTo>
                <a:cubicBezTo>
                  <a:pt x="835206" y="1468436"/>
                  <a:pt x="1524451" y="831445"/>
                  <a:pt x="1607345" y="17816"/>
                </a:cubicBezTo>
                <a:close/>
                <a:moveTo>
                  <a:pt x="1485833" y="0"/>
                </a:moveTo>
                <a:lnTo>
                  <a:pt x="1508109" y="0"/>
                </a:lnTo>
                <a:lnTo>
                  <a:pt x="1507724" y="7596"/>
                </a:lnTo>
                <a:cubicBezTo>
                  <a:pt x="1429966" y="770778"/>
                  <a:pt x="783416" y="1368317"/>
                  <a:pt x="0" y="1368317"/>
                </a:cubicBezTo>
                <a:lnTo>
                  <a:pt x="0" y="1346041"/>
                </a:lnTo>
                <a:cubicBezTo>
                  <a:pt x="771917" y="1346041"/>
                  <a:pt x="1408949" y="757304"/>
                  <a:pt x="1485563" y="5325"/>
                </a:cubicBezTo>
                <a:close/>
                <a:moveTo>
                  <a:pt x="1362591" y="0"/>
                </a:moveTo>
                <a:lnTo>
                  <a:pt x="1385194" y="0"/>
                </a:lnTo>
                <a:lnTo>
                  <a:pt x="1364797" y="133264"/>
                </a:lnTo>
                <a:cubicBezTo>
                  <a:pt x="1234684" y="767432"/>
                  <a:pt x="672215" y="1245917"/>
                  <a:pt x="0" y="1245917"/>
                </a:cubicBezTo>
                <a:lnTo>
                  <a:pt x="0" y="1223641"/>
                </a:lnTo>
                <a:cubicBezTo>
                  <a:pt x="661385" y="1223641"/>
                  <a:pt x="1214835" y="752908"/>
                  <a:pt x="1342864" y="128894"/>
                </a:cubicBezTo>
                <a:close/>
                <a:moveTo>
                  <a:pt x="1238878" y="0"/>
                </a:moveTo>
                <a:lnTo>
                  <a:pt x="1261388" y="0"/>
                </a:lnTo>
                <a:lnTo>
                  <a:pt x="1244763" y="108614"/>
                </a:lnTo>
                <a:cubicBezTo>
                  <a:pt x="1126083" y="687031"/>
                  <a:pt x="613049" y="1123397"/>
                  <a:pt x="0" y="1123397"/>
                </a:cubicBezTo>
                <a:lnTo>
                  <a:pt x="0" y="1101121"/>
                </a:lnTo>
                <a:cubicBezTo>
                  <a:pt x="602316" y="1101121"/>
                  <a:pt x="1106344" y="672419"/>
                  <a:pt x="1222940" y="104135"/>
                </a:cubicBezTo>
                <a:close/>
                <a:moveTo>
                  <a:pt x="1115178" y="0"/>
                </a:moveTo>
                <a:lnTo>
                  <a:pt x="1137688" y="0"/>
                </a:lnTo>
                <a:lnTo>
                  <a:pt x="1124836" y="83962"/>
                </a:lnTo>
                <a:cubicBezTo>
                  <a:pt x="1017592" y="606647"/>
                  <a:pt x="553979" y="1000978"/>
                  <a:pt x="0" y="1000978"/>
                </a:cubicBezTo>
                <a:lnTo>
                  <a:pt x="0" y="978703"/>
                </a:lnTo>
                <a:cubicBezTo>
                  <a:pt x="543246" y="978703"/>
                  <a:pt x="997852" y="592039"/>
                  <a:pt x="1103012" y="79485"/>
                </a:cubicBezTo>
                <a:close/>
                <a:moveTo>
                  <a:pt x="991375" y="0"/>
                </a:moveTo>
                <a:lnTo>
                  <a:pt x="1013997" y="0"/>
                </a:lnTo>
                <a:lnTo>
                  <a:pt x="1004915" y="59331"/>
                </a:lnTo>
                <a:cubicBezTo>
                  <a:pt x="909100" y="526286"/>
                  <a:pt x="494909" y="878583"/>
                  <a:pt x="0" y="878583"/>
                </a:cubicBezTo>
                <a:lnTo>
                  <a:pt x="0" y="856307"/>
                </a:lnTo>
                <a:cubicBezTo>
                  <a:pt x="484176" y="856307"/>
                  <a:pt x="889272" y="511676"/>
                  <a:pt x="982981" y="54853"/>
                </a:cubicBezTo>
                <a:close/>
                <a:moveTo>
                  <a:pt x="866108" y="0"/>
                </a:moveTo>
                <a:lnTo>
                  <a:pt x="888384" y="0"/>
                </a:lnTo>
                <a:lnTo>
                  <a:pt x="884876" y="34680"/>
                </a:lnTo>
                <a:cubicBezTo>
                  <a:pt x="800495" y="445883"/>
                  <a:pt x="435739" y="756058"/>
                  <a:pt x="0" y="756058"/>
                </a:cubicBezTo>
                <a:lnTo>
                  <a:pt x="0" y="733782"/>
                </a:lnTo>
                <a:cubicBezTo>
                  <a:pt x="425107" y="733782"/>
                  <a:pt x="780781" y="431187"/>
                  <a:pt x="863057" y="30169"/>
                </a:cubicBezTo>
                <a:close/>
                <a:moveTo>
                  <a:pt x="743692" y="0"/>
                </a:moveTo>
                <a:lnTo>
                  <a:pt x="765973" y="0"/>
                </a:lnTo>
                <a:lnTo>
                  <a:pt x="764957" y="10048"/>
                </a:lnTo>
                <a:cubicBezTo>
                  <a:pt x="692029" y="365521"/>
                  <a:pt x="376767" y="633662"/>
                  <a:pt x="0" y="633662"/>
                </a:cubicBezTo>
                <a:lnTo>
                  <a:pt x="0" y="611386"/>
                </a:lnTo>
                <a:cubicBezTo>
                  <a:pt x="365938" y="611386"/>
                  <a:pt x="672265" y="350911"/>
                  <a:pt x="743129" y="5570"/>
                </a:cubicBezTo>
                <a:close/>
                <a:moveTo>
                  <a:pt x="617163" y="0"/>
                </a:moveTo>
                <a:lnTo>
                  <a:pt x="640489" y="0"/>
                </a:lnTo>
                <a:lnTo>
                  <a:pt x="606611" y="108906"/>
                </a:lnTo>
                <a:cubicBezTo>
                  <a:pt x="506524" y="345128"/>
                  <a:pt x="272312" y="511248"/>
                  <a:pt x="0" y="511248"/>
                </a:cubicBezTo>
                <a:lnTo>
                  <a:pt x="0" y="488972"/>
                </a:lnTo>
                <a:cubicBezTo>
                  <a:pt x="263030" y="488972"/>
                  <a:pt x="489290" y="328485"/>
                  <a:pt x="585980" y="100252"/>
                </a:cubicBezTo>
                <a:close/>
                <a:moveTo>
                  <a:pt x="489561" y="0"/>
                </a:moveTo>
                <a:lnTo>
                  <a:pt x="512789" y="0"/>
                </a:lnTo>
                <a:lnTo>
                  <a:pt x="493721" y="61289"/>
                </a:lnTo>
                <a:cubicBezTo>
                  <a:pt x="412246" y="253561"/>
                  <a:pt x="221597" y="388735"/>
                  <a:pt x="0" y="388735"/>
                </a:cubicBezTo>
                <a:lnTo>
                  <a:pt x="0" y="366459"/>
                </a:lnTo>
                <a:cubicBezTo>
                  <a:pt x="212399" y="366459"/>
                  <a:pt x="395116" y="236854"/>
                  <a:pt x="473199" y="52587"/>
                </a:cubicBezTo>
                <a:close/>
                <a:moveTo>
                  <a:pt x="361966" y="0"/>
                </a:moveTo>
                <a:lnTo>
                  <a:pt x="385181" y="0"/>
                </a:lnTo>
                <a:lnTo>
                  <a:pt x="380937" y="13636"/>
                </a:lnTo>
                <a:cubicBezTo>
                  <a:pt x="318070" y="161973"/>
                  <a:pt x="170965" y="266328"/>
                  <a:pt x="0" y="266328"/>
                </a:cubicBezTo>
                <a:lnTo>
                  <a:pt x="0" y="244052"/>
                </a:lnTo>
                <a:cubicBezTo>
                  <a:pt x="161767" y="244052"/>
                  <a:pt x="300940" y="145329"/>
                  <a:pt x="360416" y="4982"/>
                </a:cubicBezTo>
                <a:close/>
                <a:moveTo>
                  <a:pt x="218905" y="0"/>
                </a:moveTo>
                <a:lnTo>
                  <a:pt x="249720" y="0"/>
                </a:lnTo>
                <a:lnTo>
                  <a:pt x="241311" y="15475"/>
                </a:lnTo>
                <a:cubicBezTo>
                  <a:pt x="188962" y="92909"/>
                  <a:pt x="100349" y="143932"/>
                  <a:pt x="0" y="143932"/>
                </a:cubicBezTo>
                <a:lnTo>
                  <a:pt x="0" y="121656"/>
                </a:lnTo>
                <a:cubicBezTo>
                  <a:pt x="74091" y="121656"/>
                  <a:pt x="141290" y="91533"/>
                  <a:pt x="189966" y="42875"/>
                </a:cubicBezTo>
                <a:close/>
              </a:path>
            </a:pathLst>
          </a:custGeom>
          <a:solidFill>
            <a:schemeClr val="accent3">
              <a:lumMod val="20000"/>
              <a:lumOff val="80000"/>
            </a:schemeClr>
          </a:solidFill>
          <a:ln w="4588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>
              <a:solidFill>
                <a:schemeClr val="tx1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118286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ADFAE2CB-0EAD-E788-FCB7-FB12F6939199}"/>
              </a:ext>
            </a:extLst>
          </p:cNvPr>
          <p:cNvSpPr/>
          <p:nvPr userDrawn="1"/>
        </p:nvSpPr>
        <p:spPr>
          <a:xfrm flipH="1" flipV="1">
            <a:off x="9949173" y="4755034"/>
            <a:ext cx="2242827" cy="2102966"/>
          </a:xfrm>
          <a:custGeom>
            <a:avLst/>
            <a:gdLst>
              <a:gd name="connsiteX0" fmla="*/ 2220549 w 2242827"/>
              <a:gd name="connsiteY0" fmla="*/ 0 h 2102966"/>
              <a:gd name="connsiteX1" fmla="*/ 2242827 w 2242827"/>
              <a:gd name="connsiteY1" fmla="*/ 0 h 2102966"/>
              <a:gd name="connsiteX2" fmla="*/ 2238641 w 2242827"/>
              <a:gd name="connsiteY2" fmla="*/ 82607 h 2102966"/>
              <a:gd name="connsiteX3" fmla="*/ 1 w 2242827"/>
              <a:gd name="connsiteY3" fmla="*/ 2102966 h 2102966"/>
              <a:gd name="connsiteX4" fmla="*/ 1 w 2242827"/>
              <a:gd name="connsiteY4" fmla="*/ 2080690 h 2102966"/>
              <a:gd name="connsiteX5" fmla="*/ 2216479 w 2242827"/>
              <a:gd name="connsiteY5" fmla="*/ 80336 h 2102966"/>
              <a:gd name="connsiteX6" fmla="*/ 2098030 w 2242827"/>
              <a:gd name="connsiteY6" fmla="*/ 0 h 2102966"/>
              <a:gd name="connsiteX7" fmla="*/ 2120412 w 2242827"/>
              <a:gd name="connsiteY7" fmla="*/ 0 h 2102966"/>
              <a:gd name="connsiteX8" fmla="*/ 2116859 w 2242827"/>
              <a:gd name="connsiteY8" fmla="*/ 70117 h 2102966"/>
              <a:gd name="connsiteX9" fmla="*/ 1 w 2242827"/>
              <a:gd name="connsiteY9" fmla="*/ 1980571 h 2102966"/>
              <a:gd name="connsiteX10" fmla="*/ 1 w 2242827"/>
              <a:gd name="connsiteY10" fmla="*/ 1958295 h 2102966"/>
              <a:gd name="connsiteX11" fmla="*/ 2094588 w 2242827"/>
              <a:gd name="connsiteY11" fmla="*/ 67938 h 2102966"/>
              <a:gd name="connsiteX12" fmla="*/ 1975608 w 2242827"/>
              <a:gd name="connsiteY12" fmla="*/ 0 h 2102966"/>
              <a:gd name="connsiteX13" fmla="*/ 1997887 w 2242827"/>
              <a:gd name="connsiteY13" fmla="*/ 0 h 2102966"/>
              <a:gd name="connsiteX14" fmla="*/ 1994968 w 2242827"/>
              <a:gd name="connsiteY14" fmla="*/ 57611 h 2102966"/>
              <a:gd name="connsiteX15" fmla="*/ 1 w 2242827"/>
              <a:gd name="connsiteY15" fmla="*/ 1858047 h 2102966"/>
              <a:gd name="connsiteX16" fmla="*/ 1 w 2242827"/>
              <a:gd name="connsiteY16" fmla="*/ 1835771 h 2102966"/>
              <a:gd name="connsiteX17" fmla="*/ 1972805 w 2242827"/>
              <a:gd name="connsiteY17" fmla="*/ 55322 h 2102966"/>
              <a:gd name="connsiteX18" fmla="*/ 1853193 w 2242827"/>
              <a:gd name="connsiteY18" fmla="*/ 0 h 2102966"/>
              <a:gd name="connsiteX19" fmla="*/ 1875472 w 2242827"/>
              <a:gd name="connsiteY19" fmla="*/ 0 h 2102966"/>
              <a:gd name="connsiteX20" fmla="*/ 1873186 w 2242827"/>
              <a:gd name="connsiteY20" fmla="*/ 45119 h 2102966"/>
              <a:gd name="connsiteX21" fmla="*/ 0 w 2242827"/>
              <a:gd name="connsiteY21" fmla="*/ 1735650 h 2102966"/>
              <a:gd name="connsiteX22" fmla="*/ 0 w 2242827"/>
              <a:gd name="connsiteY22" fmla="*/ 1713374 h 2102966"/>
              <a:gd name="connsiteX23" fmla="*/ 1851022 w 2242827"/>
              <a:gd name="connsiteY23" fmla="*/ 42848 h 2102966"/>
              <a:gd name="connsiteX24" fmla="*/ 1730668 w 2242827"/>
              <a:gd name="connsiteY24" fmla="*/ 0 h 2102966"/>
              <a:gd name="connsiteX25" fmla="*/ 1753056 w 2242827"/>
              <a:gd name="connsiteY25" fmla="*/ 0 h 2102966"/>
              <a:gd name="connsiteX26" fmla="*/ 1751404 w 2242827"/>
              <a:gd name="connsiteY26" fmla="*/ 32610 h 2102966"/>
              <a:gd name="connsiteX27" fmla="*/ 0 w 2242827"/>
              <a:gd name="connsiteY27" fmla="*/ 1613232 h 2102966"/>
              <a:gd name="connsiteX28" fmla="*/ 0 w 2242827"/>
              <a:gd name="connsiteY28" fmla="*/ 1590961 h 2102966"/>
              <a:gd name="connsiteX29" fmla="*/ 1729127 w 2242827"/>
              <a:gd name="connsiteY29" fmla="*/ 30432 h 2102966"/>
              <a:gd name="connsiteX30" fmla="*/ 1608247 w 2242827"/>
              <a:gd name="connsiteY30" fmla="*/ 0 h 2102966"/>
              <a:gd name="connsiteX31" fmla="*/ 1630525 w 2242827"/>
              <a:gd name="connsiteY31" fmla="*/ 0 h 2102966"/>
              <a:gd name="connsiteX32" fmla="*/ 1629507 w 2242827"/>
              <a:gd name="connsiteY32" fmla="*/ 20086 h 2102966"/>
              <a:gd name="connsiteX33" fmla="*/ 0 w 2242827"/>
              <a:gd name="connsiteY33" fmla="*/ 1490712 h 2102966"/>
              <a:gd name="connsiteX34" fmla="*/ 0 w 2242827"/>
              <a:gd name="connsiteY34" fmla="*/ 1468436 h 2102966"/>
              <a:gd name="connsiteX35" fmla="*/ 1607345 w 2242827"/>
              <a:gd name="connsiteY35" fmla="*/ 17816 h 2102966"/>
              <a:gd name="connsiteX36" fmla="*/ 1485833 w 2242827"/>
              <a:gd name="connsiteY36" fmla="*/ 0 h 2102966"/>
              <a:gd name="connsiteX37" fmla="*/ 1508109 w 2242827"/>
              <a:gd name="connsiteY37" fmla="*/ 0 h 2102966"/>
              <a:gd name="connsiteX38" fmla="*/ 1507724 w 2242827"/>
              <a:gd name="connsiteY38" fmla="*/ 7596 h 2102966"/>
              <a:gd name="connsiteX39" fmla="*/ 0 w 2242827"/>
              <a:gd name="connsiteY39" fmla="*/ 1368317 h 2102966"/>
              <a:gd name="connsiteX40" fmla="*/ 0 w 2242827"/>
              <a:gd name="connsiteY40" fmla="*/ 1346041 h 2102966"/>
              <a:gd name="connsiteX41" fmla="*/ 1485563 w 2242827"/>
              <a:gd name="connsiteY41" fmla="*/ 5325 h 2102966"/>
              <a:gd name="connsiteX42" fmla="*/ 1362591 w 2242827"/>
              <a:gd name="connsiteY42" fmla="*/ 0 h 2102966"/>
              <a:gd name="connsiteX43" fmla="*/ 1385194 w 2242827"/>
              <a:gd name="connsiteY43" fmla="*/ 0 h 2102966"/>
              <a:gd name="connsiteX44" fmla="*/ 1364797 w 2242827"/>
              <a:gd name="connsiteY44" fmla="*/ 133264 h 2102966"/>
              <a:gd name="connsiteX45" fmla="*/ 0 w 2242827"/>
              <a:gd name="connsiteY45" fmla="*/ 1245917 h 2102966"/>
              <a:gd name="connsiteX46" fmla="*/ 0 w 2242827"/>
              <a:gd name="connsiteY46" fmla="*/ 1223641 h 2102966"/>
              <a:gd name="connsiteX47" fmla="*/ 1342864 w 2242827"/>
              <a:gd name="connsiteY47" fmla="*/ 128894 h 2102966"/>
              <a:gd name="connsiteX48" fmla="*/ 1238878 w 2242827"/>
              <a:gd name="connsiteY48" fmla="*/ 0 h 2102966"/>
              <a:gd name="connsiteX49" fmla="*/ 1261388 w 2242827"/>
              <a:gd name="connsiteY49" fmla="*/ 0 h 2102966"/>
              <a:gd name="connsiteX50" fmla="*/ 1244763 w 2242827"/>
              <a:gd name="connsiteY50" fmla="*/ 108614 h 2102966"/>
              <a:gd name="connsiteX51" fmla="*/ 0 w 2242827"/>
              <a:gd name="connsiteY51" fmla="*/ 1123397 h 2102966"/>
              <a:gd name="connsiteX52" fmla="*/ 0 w 2242827"/>
              <a:gd name="connsiteY52" fmla="*/ 1101121 h 2102966"/>
              <a:gd name="connsiteX53" fmla="*/ 1222940 w 2242827"/>
              <a:gd name="connsiteY53" fmla="*/ 104135 h 2102966"/>
              <a:gd name="connsiteX54" fmla="*/ 1115178 w 2242827"/>
              <a:gd name="connsiteY54" fmla="*/ 0 h 2102966"/>
              <a:gd name="connsiteX55" fmla="*/ 1137688 w 2242827"/>
              <a:gd name="connsiteY55" fmla="*/ 0 h 2102966"/>
              <a:gd name="connsiteX56" fmla="*/ 1124836 w 2242827"/>
              <a:gd name="connsiteY56" fmla="*/ 83962 h 2102966"/>
              <a:gd name="connsiteX57" fmla="*/ 0 w 2242827"/>
              <a:gd name="connsiteY57" fmla="*/ 1000978 h 2102966"/>
              <a:gd name="connsiteX58" fmla="*/ 0 w 2242827"/>
              <a:gd name="connsiteY58" fmla="*/ 978703 h 2102966"/>
              <a:gd name="connsiteX59" fmla="*/ 1103012 w 2242827"/>
              <a:gd name="connsiteY59" fmla="*/ 79485 h 2102966"/>
              <a:gd name="connsiteX60" fmla="*/ 991375 w 2242827"/>
              <a:gd name="connsiteY60" fmla="*/ 0 h 2102966"/>
              <a:gd name="connsiteX61" fmla="*/ 1013997 w 2242827"/>
              <a:gd name="connsiteY61" fmla="*/ 0 h 2102966"/>
              <a:gd name="connsiteX62" fmla="*/ 1004915 w 2242827"/>
              <a:gd name="connsiteY62" fmla="*/ 59331 h 2102966"/>
              <a:gd name="connsiteX63" fmla="*/ 0 w 2242827"/>
              <a:gd name="connsiteY63" fmla="*/ 878583 h 2102966"/>
              <a:gd name="connsiteX64" fmla="*/ 0 w 2242827"/>
              <a:gd name="connsiteY64" fmla="*/ 856307 h 2102966"/>
              <a:gd name="connsiteX65" fmla="*/ 982981 w 2242827"/>
              <a:gd name="connsiteY65" fmla="*/ 54853 h 2102966"/>
              <a:gd name="connsiteX66" fmla="*/ 866108 w 2242827"/>
              <a:gd name="connsiteY66" fmla="*/ 0 h 2102966"/>
              <a:gd name="connsiteX67" fmla="*/ 888384 w 2242827"/>
              <a:gd name="connsiteY67" fmla="*/ 0 h 2102966"/>
              <a:gd name="connsiteX68" fmla="*/ 884876 w 2242827"/>
              <a:gd name="connsiteY68" fmla="*/ 34680 h 2102966"/>
              <a:gd name="connsiteX69" fmla="*/ 0 w 2242827"/>
              <a:gd name="connsiteY69" fmla="*/ 756058 h 2102966"/>
              <a:gd name="connsiteX70" fmla="*/ 0 w 2242827"/>
              <a:gd name="connsiteY70" fmla="*/ 733782 h 2102966"/>
              <a:gd name="connsiteX71" fmla="*/ 863057 w 2242827"/>
              <a:gd name="connsiteY71" fmla="*/ 30169 h 2102966"/>
              <a:gd name="connsiteX72" fmla="*/ 743692 w 2242827"/>
              <a:gd name="connsiteY72" fmla="*/ 0 h 2102966"/>
              <a:gd name="connsiteX73" fmla="*/ 765973 w 2242827"/>
              <a:gd name="connsiteY73" fmla="*/ 0 h 2102966"/>
              <a:gd name="connsiteX74" fmla="*/ 764957 w 2242827"/>
              <a:gd name="connsiteY74" fmla="*/ 10048 h 2102966"/>
              <a:gd name="connsiteX75" fmla="*/ 0 w 2242827"/>
              <a:gd name="connsiteY75" fmla="*/ 633662 h 2102966"/>
              <a:gd name="connsiteX76" fmla="*/ 0 w 2242827"/>
              <a:gd name="connsiteY76" fmla="*/ 611386 h 2102966"/>
              <a:gd name="connsiteX77" fmla="*/ 743129 w 2242827"/>
              <a:gd name="connsiteY77" fmla="*/ 5570 h 2102966"/>
              <a:gd name="connsiteX78" fmla="*/ 617163 w 2242827"/>
              <a:gd name="connsiteY78" fmla="*/ 0 h 2102966"/>
              <a:gd name="connsiteX79" fmla="*/ 640489 w 2242827"/>
              <a:gd name="connsiteY79" fmla="*/ 0 h 2102966"/>
              <a:gd name="connsiteX80" fmla="*/ 606611 w 2242827"/>
              <a:gd name="connsiteY80" fmla="*/ 108906 h 2102966"/>
              <a:gd name="connsiteX81" fmla="*/ 0 w 2242827"/>
              <a:gd name="connsiteY81" fmla="*/ 511248 h 2102966"/>
              <a:gd name="connsiteX82" fmla="*/ 0 w 2242827"/>
              <a:gd name="connsiteY82" fmla="*/ 488972 h 2102966"/>
              <a:gd name="connsiteX83" fmla="*/ 585980 w 2242827"/>
              <a:gd name="connsiteY83" fmla="*/ 100252 h 2102966"/>
              <a:gd name="connsiteX84" fmla="*/ 489561 w 2242827"/>
              <a:gd name="connsiteY84" fmla="*/ 0 h 2102966"/>
              <a:gd name="connsiteX85" fmla="*/ 512789 w 2242827"/>
              <a:gd name="connsiteY85" fmla="*/ 0 h 2102966"/>
              <a:gd name="connsiteX86" fmla="*/ 493721 w 2242827"/>
              <a:gd name="connsiteY86" fmla="*/ 61289 h 2102966"/>
              <a:gd name="connsiteX87" fmla="*/ 0 w 2242827"/>
              <a:gd name="connsiteY87" fmla="*/ 388735 h 2102966"/>
              <a:gd name="connsiteX88" fmla="*/ 0 w 2242827"/>
              <a:gd name="connsiteY88" fmla="*/ 366459 h 2102966"/>
              <a:gd name="connsiteX89" fmla="*/ 473199 w 2242827"/>
              <a:gd name="connsiteY89" fmla="*/ 52587 h 2102966"/>
              <a:gd name="connsiteX90" fmla="*/ 361966 w 2242827"/>
              <a:gd name="connsiteY90" fmla="*/ 0 h 2102966"/>
              <a:gd name="connsiteX91" fmla="*/ 385181 w 2242827"/>
              <a:gd name="connsiteY91" fmla="*/ 0 h 2102966"/>
              <a:gd name="connsiteX92" fmla="*/ 380937 w 2242827"/>
              <a:gd name="connsiteY92" fmla="*/ 13636 h 2102966"/>
              <a:gd name="connsiteX93" fmla="*/ 0 w 2242827"/>
              <a:gd name="connsiteY93" fmla="*/ 266328 h 2102966"/>
              <a:gd name="connsiteX94" fmla="*/ 0 w 2242827"/>
              <a:gd name="connsiteY94" fmla="*/ 244052 h 2102966"/>
              <a:gd name="connsiteX95" fmla="*/ 360416 w 2242827"/>
              <a:gd name="connsiteY95" fmla="*/ 4982 h 2102966"/>
              <a:gd name="connsiteX96" fmla="*/ 218905 w 2242827"/>
              <a:gd name="connsiteY96" fmla="*/ 0 h 2102966"/>
              <a:gd name="connsiteX97" fmla="*/ 249720 w 2242827"/>
              <a:gd name="connsiteY97" fmla="*/ 0 h 2102966"/>
              <a:gd name="connsiteX98" fmla="*/ 241311 w 2242827"/>
              <a:gd name="connsiteY98" fmla="*/ 15475 h 2102966"/>
              <a:gd name="connsiteX99" fmla="*/ 0 w 2242827"/>
              <a:gd name="connsiteY99" fmla="*/ 143932 h 2102966"/>
              <a:gd name="connsiteX100" fmla="*/ 0 w 2242827"/>
              <a:gd name="connsiteY100" fmla="*/ 121656 h 2102966"/>
              <a:gd name="connsiteX101" fmla="*/ 189966 w 2242827"/>
              <a:gd name="connsiteY101" fmla="*/ 42875 h 21029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</a:cxnLst>
            <a:rect l="l" t="t" r="r" b="b"/>
            <a:pathLst>
              <a:path w="2242827" h="2102966">
                <a:moveTo>
                  <a:pt x="2220549" y="0"/>
                </a:moveTo>
                <a:lnTo>
                  <a:pt x="2242827" y="0"/>
                </a:lnTo>
                <a:lnTo>
                  <a:pt x="2238641" y="82607"/>
                </a:lnTo>
                <a:cubicBezTo>
                  <a:pt x="2123193" y="1215807"/>
                  <a:pt x="1163255" y="2102966"/>
                  <a:pt x="1" y="2102966"/>
                </a:cubicBezTo>
                <a:lnTo>
                  <a:pt x="1" y="2080690"/>
                </a:lnTo>
                <a:cubicBezTo>
                  <a:pt x="1151759" y="2080690"/>
                  <a:pt x="2102176" y="1202330"/>
                  <a:pt x="2216479" y="80336"/>
                </a:cubicBezTo>
                <a:close/>
                <a:moveTo>
                  <a:pt x="2098030" y="0"/>
                </a:moveTo>
                <a:lnTo>
                  <a:pt x="2120412" y="0"/>
                </a:lnTo>
                <a:lnTo>
                  <a:pt x="2116859" y="70117"/>
                </a:lnTo>
                <a:cubicBezTo>
                  <a:pt x="2007691" y="1141666"/>
                  <a:pt x="1099966" y="1980571"/>
                  <a:pt x="1" y="1980571"/>
                </a:cubicBezTo>
                <a:lnTo>
                  <a:pt x="1" y="1958295"/>
                </a:lnTo>
                <a:cubicBezTo>
                  <a:pt x="1088470" y="1958295"/>
                  <a:pt x="1986577" y="1128187"/>
                  <a:pt x="2094588" y="67938"/>
                </a:cubicBezTo>
                <a:close/>
                <a:moveTo>
                  <a:pt x="1975608" y="0"/>
                </a:moveTo>
                <a:lnTo>
                  <a:pt x="1997887" y="0"/>
                </a:lnTo>
                <a:lnTo>
                  <a:pt x="1994968" y="57611"/>
                </a:lnTo>
                <a:cubicBezTo>
                  <a:pt x="1892090" y="1067493"/>
                  <a:pt x="1036676" y="1858047"/>
                  <a:pt x="1" y="1858047"/>
                </a:cubicBezTo>
                <a:lnTo>
                  <a:pt x="1" y="1835771"/>
                </a:lnTo>
                <a:cubicBezTo>
                  <a:pt x="1025181" y="1835771"/>
                  <a:pt x="1871073" y="1053919"/>
                  <a:pt x="1972805" y="55322"/>
                </a:cubicBezTo>
                <a:close/>
                <a:moveTo>
                  <a:pt x="1853193" y="0"/>
                </a:moveTo>
                <a:lnTo>
                  <a:pt x="1875472" y="0"/>
                </a:lnTo>
                <a:lnTo>
                  <a:pt x="1873186" y="45119"/>
                </a:lnTo>
                <a:cubicBezTo>
                  <a:pt x="1776588" y="993350"/>
                  <a:pt x="973388" y="1735650"/>
                  <a:pt x="0" y="1735650"/>
                </a:cubicBezTo>
                <a:lnTo>
                  <a:pt x="0" y="1713374"/>
                </a:lnTo>
                <a:cubicBezTo>
                  <a:pt x="961784" y="1713374"/>
                  <a:pt x="1755557" y="979877"/>
                  <a:pt x="1851022" y="42848"/>
                </a:cubicBezTo>
                <a:close/>
                <a:moveTo>
                  <a:pt x="1730668" y="0"/>
                </a:moveTo>
                <a:lnTo>
                  <a:pt x="1753056" y="0"/>
                </a:lnTo>
                <a:lnTo>
                  <a:pt x="1751404" y="32610"/>
                </a:lnTo>
                <a:cubicBezTo>
                  <a:pt x="1661086" y="919190"/>
                  <a:pt x="910098" y="1613232"/>
                  <a:pt x="0" y="1613232"/>
                </a:cubicBezTo>
                <a:lnTo>
                  <a:pt x="0" y="1590961"/>
                </a:lnTo>
                <a:cubicBezTo>
                  <a:pt x="898495" y="1590961"/>
                  <a:pt x="1639954" y="905712"/>
                  <a:pt x="1729127" y="30432"/>
                </a:cubicBezTo>
                <a:close/>
                <a:moveTo>
                  <a:pt x="1608247" y="0"/>
                </a:moveTo>
                <a:lnTo>
                  <a:pt x="1630525" y="0"/>
                </a:lnTo>
                <a:lnTo>
                  <a:pt x="1629507" y="20086"/>
                </a:lnTo>
                <a:cubicBezTo>
                  <a:pt x="1545469" y="844919"/>
                  <a:pt x="846701" y="1490712"/>
                  <a:pt x="0" y="1490712"/>
                </a:cubicBezTo>
                <a:lnTo>
                  <a:pt x="0" y="1468436"/>
                </a:lnTo>
                <a:cubicBezTo>
                  <a:pt x="835206" y="1468436"/>
                  <a:pt x="1524451" y="831445"/>
                  <a:pt x="1607345" y="17816"/>
                </a:cubicBezTo>
                <a:close/>
                <a:moveTo>
                  <a:pt x="1485833" y="0"/>
                </a:moveTo>
                <a:lnTo>
                  <a:pt x="1508109" y="0"/>
                </a:lnTo>
                <a:lnTo>
                  <a:pt x="1507724" y="7596"/>
                </a:lnTo>
                <a:cubicBezTo>
                  <a:pt x="1429966" y="770778"/>
                  <a:pt x="783416" y="1368317"/>
                  <a:pt x="0" y="1368317"/>
                </a:cubicBezTo>
                <a:lnTo>
                  <a:pt x="0" y="1346041"/>
                </a:lnTo>
                <a:cubicBezTo>
                  <a:pt x="771917" y="1346041"/>
                  <a:pt x="1408949" y="757304"/>
                  <a:pt x="1485563" y="5325"/>
                </a:cubicBezTo>
                <a:close/>
                <a:moveTo>
                  <a:pt x="1362591" y="0"/>
                </a:moveTo>
                <a:lnTo>
                  <a:pt x="1385194" y="0"/>
                </a:lnTo>
                <a:lnTo>
                  <a:pt x="1364797" y="133264"/>
                </a:lnTo>
                <a:cubicBezTo>
                  <a:pt x="1234684" y="767432"/>
                  <a:pt x="672215" y="1245917"/>
                  <a:pt x="0" y="1245917"/>
                </a:cubicBezTo>
                <a:lnTo>
                  <a:pt x="0" y="1223641"/>
                </a:lnTo>
                <a:cubicBezTo>
                  <a:pt x="661385" y="1223641"/>
                  <a:pt x="1214835" y="752908"/>
                  <a:pt x="1342864" y="128894"/>
                </a:cubicBezTo>
                <a:close/>
                <a:moveTo>
                  <a:pt x="1238878" y="0"/>
                </a:moveTo>
                <a:lnTo>
                  <a:pt x="1261388" y="0"/>
                </a:lnTo>
                <a:lnTo>
                  <a:pt x="1244763" y="108614"/>
                </a:lnTo>
                <a:cubicBezTo>
                  <a:pt x="1126083" y="687031"/>
                  <a:pt x="613049" y="1123397"/>
                  <a:pt x="0" y="1123397"/>
                </a:cubicBezTo>
                <a:lnTo>
                  <a:pt x="0" y="1101121"/>
                </a:lnTo>
                <a:cubicBezTo>
                  <a:pt x="602316" y="1101121"/>
                  <a:pt x="1106344" y="672419"/>
                  <a:pt x="1222940" y="104135"/>
                </a:cubicBezTo>
                <a:close/>
                <a:moveTo>
                  <a:pt x="1115178" y="0"/>
                </a:moveTo>
                <a:lnTo>
                  <a:pt x="1137688" y="0"/>
                </a:lnTo>
                <a:lnTo>
                  <a:pt x="1124836" y="83962"/>
                </a:lnTo>
                <a:cubicBezTo>
                  <a:pt x="1017592" y="606647"/>
                  <a:pt x="553979" y="1000978"/>
                  <a:pt x="0" y="1000978"/>
                </a:cubicBezTo>
                <a:lnTo>
                  <a:pt x="0" y="978703"/>
                </a:lnTo>
                <a:cubicBezTo>
                  <a:pt x="543246" y="978703"/>
                  <a:pt x="997852" y="592039"/>
                  <a:pt x="1103012" y="79485"/>
                </a:cubicBezTo>
                <a:close/>
                <a:moveTo>
                  <a:pt x="991375" y="0"/>
                </a:moveTo>
                <a:lnTo>
                  <a:pt x="1013997" y="0"/>
                </a:lnTo>
                <a:lnTo>
                  <a:pt x="1004915" y="59331"/>
                </a:lnTo>
                <a:cubicBezTo>
                  <a:pt x="909100" y="526286"/>
                  <a:pt x="494909" y="878583"/>
                  <a:pt x="0" y="878583"/>
                </a:cubicBezTo>
                <a:lnTo>
                  <a:pt x="0" y="856307"/>
                </a:lnTo>
                <a:cubicBezTo>
                  <a:pt x="484176" y="856307"/>
                  <a:pt x="889272" y="511676"/>
                  <a:pt x="982981" y="54853"/>
                </a:cubicBezTo>
                <a:close/>
                <a:moveTo>
                  <a:pt x="866108" y="0"/>
                </a:moveTo>
                <a:lnTo>
                  <a:pt x="888384" y="0"/>
                </a:lnTo>
                <a:lnTo>
                  <a:pt x="884876" y="34680"/>
                </a:lnTo>
                <a:cubicBezTo>
                  <a:pt x="800495" y="445883"/>
                  <a:pt x="435739" y="756058"/>
                  <a:pt x="0" y="756058"/>
                </a:cubicBezTo>
                <a:lnTo>
                  <a:pt x="0" y="733782"/>
                </a:lnTo>
                <a:cubicBezTo>
                  <a:pt x="425107" y="733782"/>
                  <a:pt x="780781" y="431187"/>
                  <a:pt x="863057" y="30169"/>
                </a:cubicBezTo>
                <a:close/>
                <a:moveTo>
                  <a:pt x="743692" y="0"/>
                </a:moveTo>
                <a:lnTo>
                  <a:pt x="765973" y="0"/>
                </a:lnTo>
                <a:lnTo>
                  <a:pt x="764957" y="10048"/>
                </a:lnTo>
                <a:cubicBezTo>
                  <a:pt x="692029" y="365521"/>
                  <a:pt x="376767" y="633662"/>
                  <a:pt x="0" y="633662"/>
                </a:cubicBezTo>
                <a:lnTo>
                  <a:pt x="0" y="611386"/>
                </a:lnTo>
                <a:cubicBezTo>
                  <a:pt x="365938" y="611386"/>
                  <a:pt x="672265" y="350911"/>
                  <a:pt x="743129" y="5570"/>
                </a:cubicBezTo>
                <a:close/>
                <a:moveTo>
                  <a:pt x="617163" y="0"/>
                </a:moveTo>
                <a:lnTo>
                  <a:pt x="640489" y="0"/>
                </a:lnTo>
                <a:lnTo>
                  <a:pt x="606611" y="108906"/>
                </a:lnTo>
                <a:cubicBezTo>
                  <a:pt x="506524" y="345128"/>
                  <a:pt x="272312" y="511248"/>
                  <a:pt x="0" y="511248"/>
                </a:cubicBezTo>
                <a:lnTo>
                  <a:pt x="0" y="488972"/>
                </a:lnTo>
                <a:cubicBezTo>
                  <a:pt x="263030" y="488972"/>
                  <a:pt x="489290" y="328485"/>
                  <a:pt x="585980" y="100252"/>
                </a:cubicBezTo>
                <a:close/>
                <a:moveTo>
                  <a:pt x="489561" y="0"/>
                </a:moveTo>
                <a:lnTo>
                  <a:pt x="512789" y="0"/>
                </a:lnTo>
                <a:lnTo>
                  <a:pt x="493721" y="61289"/>
                </a:lnTo>
                <a:cubicBezTo>
                  <a:pt x="412246" y="253561"/>
                  <a:pt x="221597" y="388735"/>
                  <a:pt x="0" y="388735"/>
                </a:cubicBezTo>
                <a:lnTo>
                  <a:pt x="0" y="366459"/>
                </a:lnTo>
                <a:cubicBezTo>
                  <a:pt x="212399" y="366459"/>
                  <a:pt x="395116" y="236854"/>
                  <a:pt x="473199" y="52587"/>
                </a:cubicBezTo>
                <a:close/>
                <a:moveTo>
                  <a:pt x="361966" y="0"/>
                </a:moveTo>
                <a:lnTo>
                  <a:pt x="385181" y="0"/>
                </a:lnTo>
                <a:lnTo>
                  <a:pt x="380937" y="13636"/>
                </a:lnTo>
                <a:cubicBezTo>
                  <a:pt x="318070" y="161973"/>
                  <a:pt x="170965" y="266328"/>
                  <a:pt x="0" y="266328"/>
                </a:cubicBezTo>
                <a:lnTo>
                  <a:pt x="0" y="244052"/>
                </a:lnTo>
                <a:cubicBezTo>
                  <a:pt x="161767" y="244052"/>
                  <a:pt x="300940" y="145329"/>
                  <a:pt x="360416" y="4982"/>
                </a:cubicBezTo>
                <a:close/>
                <a:moveTo>
                  <a:pt x="218905" y="0"/>
                </a:moveTo>
                <a:lnTo>
                  <a:pt x="249720" y="0"/>
                </a:lnTo>
                <a:lnTo>
                  <a:pt x="241311" y="15475"/>
                </a:lnTo>
                <a:cubicBezTo>
                  <a:pt x="188962" y="92909"/>
                  <a:pt x="100349" y="143932"/>
                  <a:pt x="0" y="143932"/>
                </a:cubicBezTo>
                <a:lnTo>
                  <a:pt x="0" y="121656"/>
                </a:lnTo>
                <a:cubicBezTo>
                  <a:pt x="74091" y="121656"/>
                  <a:pt x="141290" y="91533"/>
                  <a:pt x="189966" y="42875"/>
                </a:cubicBezTo>
                <a:close/>
              </a:path>
            </a:pathLst>
          </a:custGeom>
          <a:solidFill>
            <a:schemeClr val="accent3">
              <a:lumMod val="20000"/>
              <a:lumOff val="80000"/>
            </a:schemeClr>
          </a:solidFill>
          <a:ln w="4588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500552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75923D9E-9381-3D11-B31A-1BF5C97F35B0}"/>
              </a:ext>
            </a:extLst>
          </p:cNvPr>
          <p:cNvGrpSpPr/>
          <p:nvPr userDrawn="1"/>
        </p:nvGrpSpPr>
        <p:grpSpPr>
          <a:xfrm>
            <a:off x="6452303" y="3405019"/>
            <a:ext cx="5739697" cy="3467971"/>
            <a:chOff x="5009037" y="2525712"/>
            <a:chExt cx="7170193" cy="4332288"/>
          </a:xfrm>
        </p:grpSpPr>
        <p:sp>
          <p:nvSpPr>
            <p:cNvPr id="7" name="Freeform 7">
              <a:extLst>
                <a:ext uri="{FF2B5EF4-FFF2-40B4-BE49-F238E27FC236}">
                  <a16:creationId xmlns:a16="http://schemas.microsoft.com/office/drawing/2014/main" id="{89E777D0-3240-08CE-6B6C-B33B910B8490}"/>
                </a:ext>
              </a:extLst>
            </p:cNvPr>
            <p:cNvSpPr>
              <a:spLocks/>
            </p:cNvSpPr>
            <p:nvPr/>
          </p:nvSpPr>
          <p:spPr bwMode="auto">
            <a:xfrm>
              <a:off x="5009037" y="2525712"/>
              <a:ext cx="3601721" cy="4332288"/>
            </a:xfrm>
            <a:custGeom>
              <a:avLst/>
              <a:gdLst>
                <a:gd name="T0" fmla="*/ 1198 w 1198"/>
                <a:gd name="T1" fmla="*/ 0 h 1441"/>
                <a:gd name="T2" fmla="*/ 0 w 1198"/>
                <a:gd name="T3" fmla="*/ 1441 h 1441"/>
                <a:gd name="T4" fmla="*/ 1198 w 1198"/>
                <a:gd name="T5" fmla="*/ 1441 h 1441"/>
                <a:gd name="T6" fmla="*/ 1198 w 1198"/>
                <a:gd name="T7" fmla="*/ 0 h 14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98" h="1441">
                  <a:moveTo>
                    <a:pt x="1198" y="0"/>
                  </a:moveTo>
                  <a:lnTo>
                    <a:pt x="0" y="1441"/>
                  </a:lnTo>
                  <a:lnTo>
                    <a:pt x="1198" y="1441"/>
                  </a:lnTo>
                  <a:lnTo>
                    <a:pt x="1198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sp>
          <p:nvSpPr>
            <p:cNvPr id="8" name="Freeform 6">
              <a:extLst>
                <a:ext uri="{FF2B5EF4-FFF2-40B4-BE49-F238E27FC236}">
                  <a16:creationId xmlns:a16="http://schemas.microsoft.com/office/drawing/2014/main" id="{EFEA81A2-6893-518C-6AF3-37C987789C86}"/>
                </a:ext>
              </a:extLst>
            </p:cNvPr>
            <p:cNvSpPr>
              <a:spLocks/>
            </p:cNvSpPr>
            <p:nvPr/>
          </p:nvSpPr>
          <p:spPr bwMode="auto">
            <a:xfrm>
              <a:off x="8589536" y="2525712"/>
              <a:ext cx="3589694" cy="4332288"/>
            </a:xfrm>
            <a:custGeom>
              <a:avLst/>
              <a:gdLst>
                <a:gd name="T0" fmla="*/ 0 w 1194"/>
                <a:gd name="T1" fmla="*/ 0 h 1441"/>
                <a:gd name="T2" fmla="*/ 1194 w 1194"/>
                <a:gd name="T3" fmla="*/ 1441 h 1441"/>
                <a:gd name="T4" fmla="*/ 0 w 1194"/>
                <a:gd name="T5" fmla="*/ 1441 h 1441"/>
                <a:gd name="T6" fmla="*/ 0 w 1194"/>
                <a:gd name="T7" fmla="*/ 0 h 14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94" h="1441">
                  <a:moveTo>
                    <a:pt x="0" y="0"/>
                  </a:moveTo>
                  <a:lnTo>
                    <a:pt x="1194" y="1441"/>
                  </a:lnTo>
                  <a:lnTo>
                    <a:pt x="0" y="144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0F297964-0B81-31DC-6D6D-1414832238B1}"/>
              </a:ext>
            </a:extLst>
          </p:cNvPr>
          <p:cNvGrpSpPr/>
          <p:nvPr userDrawn="1"/>
        </p:nvGrpSpPr>
        <p:grpSpPr>
          <a:xfrm flipH="1" flipV="1">
            <a:off x="6465610" y="0"/>
            <a:ext cx="5739697" cy="3467971"/>
            <a:chOff x="5183405" y="2678112"/>
            <a:chExt cx="7170193" cy="4332288"/>
          </a:xfrm>
        </p:grpSpPr>
        <p:sp>
          <p:nvSpPr>
            <p:cNvPr id="10" name="Freeform 7">
              <a:extLst>
                <a:ext uri="{FF2B5EF4-FFF2-40B4-BE49-F238E27FC236}">
                  <a16:creationId xmlns:a16="http://schemas.microsoft.com/office/drawing/2014/main" id="{CE4FDB43-7466-4B74-330E-836DA9504C90}"/>
                </a:ext>
              </a:extLst>
            </p:cNvPr>
            <p:cNvSpPr>
              <a:spLocks/>
            </p:cNvSpPr>
            <p:nvPr/>
          </p:nvSpPr>
          <p:spPr bwMode="auto">
            <a:xfrm>
              <a:off x="5183405" y="2678112"/>
              <a:ext cx="3601721" cy="4332288"/>
            </a:xfrm>
            <a:custGeom>
              <a:avLst/>
              <a:gdLst>
                <a:gd name="T0" fmla="*/ 1198 w 1198"/>
                <a:gd name="T1" fmla="*/ 0 h 1441"/>
                <a:gd name="T2" fmla="*/ 0 w 1198"/>
                <a:gd name="T3" fmla="*/ 1441 h 1441"/>
                <a:gd name="T4" fmla="*/ 1198 w 1198"/>
                <a:gd name="T5" fmla="*/ 1441 h 1441"/>
                <a:gd name="T6" fmla="*/ 1198 w 1198"/>
                <a:gd name="T7" fmla="*/ 0 h 14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98" h="1441">
                  <a:moveTo>
                    <a:pt x="1198" y="0"/>
                  </a:moveTo>
                  <a:lnTo>
                    <a:pt x="0" y="1441"/>
                  </a:lnTo>
                  <a:lnTo>
                    <a:pt x="1198" y="1441"/>
                  </a:lnTo>
                  <a:lnTo>
                    <a:pt x="1198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2EA39DB9-F1B4-F4E9-CF4D-717B0CD747DA}"/>
                </a:ext>
              </a:extLst>
            </p:cNvPr>
            <p:cNvSpPr>
              <a:spLocks/>
            </p:cNvSpPr>
            <p:nvPr/>
          </p:nvSpPr>
          <p:spPr bwMode="auto">
            <a:xfrm>
              <a:off x="8763903" y="2678112"/>
              <a:ext cx="3589695" cy="4332288"/>
            </a:xfrm>
            <a:custGeom>
              <a:avLst/>
              <a:gdLst>
                <a:gd name="T0" fmla="*/ 0 w 1194"/>
                <a:gd name="T1" fmla="*/ 0 h 1441"/>
                <a:gd name="T2" fmla="*/ 1194 w 1194"/>
                <a:gd name="T3" fmla="*/ 1441 h 1441"/>
                <a:gd name="T4" fmla="*/ 0 w 1194"/>
                <a:gd name="T5" fmla="*/ 1441 h 1441"/>
                <a:gd name="T6" fmla="*/ 0 w 1194"/>
                <a:gd name="T7" fmla="*/ 0 h 14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94" h="1441">
                  <a:moveTo>
                    <a:pt x="0" y="0"/>
                  </a:moveTo>
                  <a:lnTo>
                    <a:pt x="1194" y="1441"/>
                  </a:lnTo>
                  <a:lnTo>
                    <a:pt x="0" y="144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</p:grpSp>
      <p:sp>
        <p:nvSpPr>
          <p:cNvPr id="14" name="Image 2" descr="preencoded.png">
            <a:extLst>
              <a:ext uri="{FF2B5EF4-FFF2-40B4-BE49-F238E27FC236}">
                <a16:creationId xmlns:a16="http://schemas.microsoft.com/office/drawing/2014/main" id="{EFFAEAD9-58A9-096B-C6D0-58F7AD08EB20}"/>
              </a:ext>
            </a:extLst>
          </p:cNvPr>
          <p:cNvSpPr/>
          <p:nvPr/>
        </p:nvSpPr>
        <p:spPr>
          <a:xfrm>
            <a:off x="7642518" y="4577658"/>
            <a:ext cx="775021" cy="775021"/>
          </a:xfrm>
          <a:custGeom>
            <a:avLst/>
            <a:gdLst>
              <a:gd name="connsiteX0" fmla="*/ 387511 w 775021"/>
              <a:gd name="connsiteY0" fmla="*/ 775021 h 775021"/>
              <a:gd name="connsiteX1" fmla="*/ 775021 w 775021"/>
              <a:gd name="connsiteY1" fmla="*/ 387511 h 775021"/>
              <a:gd name="connsiteX2" fmla="*/ 387511 w 775021"/>
              <a:gd name="connsiteY2" fmla="*/ 0 h 775021"/>
              <a:gd name="connsiteX3" fmla="*/ 0 w 775021"/>
              <a:gd name="connsiteY3" fmla="*/ 387511 h 775021"/>
              <a:gd name="connsiteX4" fmla="*/ 387511 w 775021"/>
              <a:gd name="connsiteY4" fmla="*/ 775021 h 7750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75021" h="775021">
                <a:moveTo>
                  <a:pt x="387511" y="775021"/>
                </a:moveTo>
                <a:cubicBezTo>
                  <a:pt x="601527" y="775021"/>
                  <a:pt x="775021" y="601527"/>
                  <a:pt x="775021" y="387511"/>
                </a:cubicBezTo>
                <a:cubicBezTo>
                  <a:pt x="775021" y="173494"/>
                  <a:pt x="601527" y="0"/>
                  <a:pt x="387511" y="0"/>
                </a:cubicBezTo>
                <a:cubicBezTo>
                  <a:pt x="173494" y="0"/>
                  <a:pt x="0" y="173494"/>
                  <a:pt x="0" y="387511"/>
                </a:cubicBezTo>
                <a:cubicBezTo>
                  <a:pt x="0" y="601527"/>
                  <a:pt x="173494" y="775021"/>
                  <a:pt x="387511" y="775021"/>
                </a:cubicBezTo>
                <a:close/>
              </a:path>
            </a:pathLst>
          </a:custGeom>
          <a:solidFill>
            <a:schemeClr val="accent6"/>
          </a:solidFill>
          <a:ln w="3801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A1CFBBA-B680-A6A7-3C4B-5FEAC42532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99616" y="1901952"/>
            <a:ext cx="5693664" cy="768096"/>
          </a:xfrm>
        </p:spPr>
        <p:txBody>
          <a:bodyPr>
            <a:noAutofit/>
          </a:bodyPr>
          <a:lstStyle>
            <a:lvl1pPr algn="l">
              <a:lnSpc>
                <a:spcPct val="10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72386C43-DD10-E892-08AD-D6F4AE9617D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99616" y="2770632"/>
            <a:ext cx="5693664" cy="3122168"/>
          </a:xfrm>
        </p:spPr>
        <p:txBody>
          <a:bodyPr>
            <a:noAutofit/>
          </a:bodyPr>
          <a:lstStyle>
            <a:lvl1pPr marL="0" indent="0">
              <a:lnSpc>
                <a:spcPct val="150000"/>
              </a:lnSpc>
              <a:spcBef>
                <a:spcPts val="0"/>
              </a:spcBef>
              <a:buNone/>
              <a:defRPr sz="2400"/>
            </a:lvl1pPr>
            <a:lvl2pPr marL="347472">
              <a:lnSpc>
                <a:spcPct val="150000"/>
              </a:lnSpc>
              <a:spcBef>
                <a:spcPts val="0"/>
              </a:spcBef>
              <a:defRPr sz="2000"/>
            </a:lvl2pPr>
            <a:lvl3pPr marL="685800">
              <a:lnSpc>
                <a:spcPct val="150000"/>
              </a:lnSpc>
              <a:spcBef>
                <a:spcPts val="0"/>
              </a:spcBef>
              <a:defRPr sz="18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33396450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CAA6B609-D718-DB49-892F-7E49376CC913}"/>
              </a:ext>
            </a:extLst>
          </p:cNvPr>
          <p:cNvSpPr/>
          <p:nvPr userDrawn="1"/>
        </p:nvSpPr>
        <p:spPr>
          <a:xfrm flipH="1" flipV="1">
            <a:off x="9949173" y="4755034"/>
            <a:ext cx="2242827" cy="2102966"/>
          </a:xfrm>
          <a:custGeom>
            <a:avLst/>
            <a:gdLst>
              <a:gd name="connsiteX0" fmla="*/ 2220549 w 2242827"/>
              <a:gd name="connsiteY0" fmla="*/ 0 h 2102966"/>
              <a:gd name="connsiteX1" fmla="*/ 2242827 w 2242827"/>
              <a:gd name="connsiteY1" fmla="*/ 0 h 2102966"/>
              <a:gd name="connsiteX2" fmla="*/ 2238641 w 2242827"/>
              <a:gd name="connsiteY2" fmla="*/ 82607 h 2102966"/>
              <a:gd name="connsiteX3" fmla="*/ 1 w 2242827"/>
              <a:gd name="connsiteY3" fmla="*/ 2102966 h 2102966"/>
              <a:gd name="connsiteX4" fmla="*/ 1 w 2242827"/>
              <a:gd name="connsiteY4" fmla="*/ 2080690 h 2102966"/>
              <a:gd name="connsiteX5" fmla="*/ 2216479 w 2242827"/>
              <a:gd name="connsiteY5" fmla="*/ 80336 h 2102966"/>
              <a:gd name="connsiteX6" fmla="*/ 2098030 w 2242827"/>
              <a:gd name="connsiteY6" fmla="*/ 0 h 2102966"/>
              <a:gd name="connsiteX7" fmla="*/ 2120412 w 2242827"/>
              <a:gd name="connsiteY7" fmla="*/ 0 h 2102966"/>
              <a:gd name="connsiteX8" fmla="*/ 2116859 w 2242827"/>
              <a:gd name="connsiteY8" fmla="*/ 70117 h 2102966"/>
              <a:gd name="connsiteX9" fmla="*/ 1 w 2242827"/>
              <a:gd name="connsiteY9" fmla="*/ 1980571 h 2102966"/>
              <a:gd name="connsiteX10" fmla="*/ 1 w 2242827"/>
              <a:gd name="connsiteY10" fmla="*/ 1958295 h 2102966"/>
              <a:gd name="connsiteX11" fmla="*/ 2094588 w 2242827"/>
              <a:gd name="connsiteY11" fmla="*/ 67938 h 2102966"/>
              <a:gd name="connsiteX12" fmla="*/ 1975608 w 2242827"/>
              <a:gd name="connsiteY12" fmla="*/ 0 h 2102966"/>
              <a:gd name="connsiteX13" fmla="*/ 1997887 w 2242827"/>
              <a:gd name="connsiteY13" fmla="*/ 0 h 2102966"/>
              <a:gd name="connsiteX14" fmla="*/ 1994968 w 2242827"/>
              <a:gd name="connsiteY14" fmla="*/ 57611 h 2102966"/>
              <a:gd name="connsiteX15" fmla="*/ 1 w 2242827"/>
              <a:gd name="connsiteY15" fmla="*/ 1858047 h 2102966"/>
              <a:gd name="connsiteX16" fmla="*/ 1 w 2242827"/>
              <a:gd name="connsiteY16" fmla="*/ 1835771 h 2102966"/>
              <a:gd name="connsiteX17" fmla="*/ 1972805 w 2242827"/>
              <a:gd name="connsiteY17" fmla="*/ 55322 h 2102966"/>
              <a:gd name="connsiteX18" fmla="*/ 1853193 w 2242827"/>
              <a:gd name="connsiteY18" fmla="*/ 0 h 2102966"/>
              <a:gd name="connsiteX19" fmla="*/ 1875472 w 2242827"/>
              <a:gd name="connsiteY19" fmla="*/ 0 h 2102966"/>
              <a:gd name="connsiteX20" fmla="*/ 1873186 w 2242827"/>
              <a:gd name="connsiteY20" fmla="*/ 45119 h 2102966"/>
              <a:gd name="connsiteX21" fmla="*/ 0 w 2242827"/>
              <a:gd name="connsiteY21" fmla="*/ 1735650 h 2102966"/>
              <a:gd name="connsiteX22" fmla="*/ 0 w 2242827"/>
              <a:gd name="connsiteY22" fmla="*/ 1713374 h 2102966"/>
              <a:gd name="connsiteX23" fmla="*/ 1851022 w 2242827"/>
              <a:gd name="connsiteY23" fmla="*/ 42848 h 2102966"/>
              <a:gd name="connsiteX24" fmla="*/ 1730668 w 2242827"/>
              <a:gd name="connsiteY24" fmla="*/ 0 h 2102966"/>
              <a:gd name="connsiteX25" fmla="*/ 1753056 w 2242827"/>
              <a:gd name="connsiteY25" fmla="*/ 0 h 2102966"/>
              <a:gd name="connsiteX26" fmla="*/ 1751404 w 2242827"/>
              <a:gd name="connsiteY26" fmla="*/ 32610 h 2102966"/>
              <a:gd name="connsiteX27" fmla="*/ 0 w 2242827"/>
              <a:gd name="connsiteY27" fmla="*/ 1613232 h 2102966"/>
              <a:gd name="connsiteX28" fmla="*/ 0 w 2242827"/>
              <a:gd name="connsiteY28" fmla="*/ 1590961 h 2102966"/>
              <a:gd name="connsiteX29" fmla="*/ 1729127 w 2242827"/>
              <a:gd name="connsiteY29" fmla="*/ 30432 h 2102966"/>
              <a:gd name="connsiteX30" fmla="*/ 1608247 w 2242827"/>
              <a:gd name="connsiteY30" fmla="*/ 0 h 2102966"/>
              <a:gd name="connsiteX31" fmla="*/ 1630525 w 2242827"/>
              <a:gd name="connsiteY31" fmla="*/ 0 h 2102966"/>
              <a:gd name="connsiteX32" fmla="*/ 1629507 w 2242827"/>
              <a:gd name="connsiteY32" fmla="*/ 20086 h 2102966"/>
              <a:gd name="connsiteX33" fmla="*/ 0 w 2242827"/>
              <a:gd name="connsiteY33" fmla="*/ 1490712 h 2102966"/>
              <a:gd name="connsiteX34" fmla="*/ 0 w 2242827"/>
              <a:gd name="connsiteY34" fmla="*/ 1468436 h 2102966"/>
              <a:gd name="connsiteX35" fmla="*/ 1607345 w 2242827"/>
              <a:gd name="connsiteY35" fmla="*/ 17816 h 2102966"/>
              <a:gd name="connsiteX36" fmla="*/ 1485833 w 2242827"/>
              <a:gd name="connsiteY36" fmla="*/ 0 h 2102966"/>
              <a:gd name="connsiteX37" fmla="*/ 1508109 w 2242827"/>
              <a:gd name="connsiteY37" fmla="*/ 0 h 2102966"/>
              <a:gd name="connsiteX38" fmla="*/ 1507724 w 2242827"/>
              <a:gd name="connsiteY38" fmla="*/ 7596 h 2102966"/>
              <a:gd name="connsiteX39" fmla="*/ 0 w 2242827"/>
              <a:gd name="connsiteY39" fmla="*/ 1368317 h 2102966"/>
              <a:gd name="connsiteX40" fmla="*/ 0 w 2242827"/>
              <a:gd name="connsiteY40" fmla="*/ 1346041 h 2102966"/>
              <a:gd name="connsiteX41" fmla="*/ 1485563 w 2242827"/>
              <a:gd name="connsiteY41" fmla="*/ 5325 h 2102966"/>
              <a:gd name="connsiteX42" fmla="*/ 1362591 w 2242827"/>
              <a:gd name="connsiteY42" fmla="*/ 0 h 2102966"/>
              <a:gd name="connsiteX43" fmla="*/ 1385194 w 2242827"/>
              <a:gd name="connsiteY43" fmla="*/ 0 h 2102966"/>
              <a:gd name="connsiteX44" fmla="*/ 1364797 w 2242827"/>
              <a:gd name="connsiteY44" fmla="*/ 133264 h 2102966"/>
              <a:gd name="connsiteX45" fmla="*/ 0 w 2242827"/>
              <a:gd name="connsiteY45" fmla="*/ 1245917 h 2102966"/>
              <a:gd name="connsiteX46" fmla="*/ 0 w 2242827"/>
              <a:gd name="connsiteY46" fmla="*/ 1223641 h 2102966"/>
              <a:gd name="connsiteX47" fmla="*/ 1342864 w 2242827"/>
              <a:gd name="connsiteY47" fmla="*/ 128894 h 2102966"/>
              <a:gd name="connsiteX48" fmla="*/ 1238878 w 2242827"/>
              <a:gd name="connsiteY48" fmla="*/ 0 h 2102966"/>
              <a:gd name="connsiteX49" fmla="*/ 1261388 w 2242827"/>
              <a:gd name="connsiteY49" fmla="*/ 0 h 2102966"/>
              <a:gd name="connsiteX50" fmla="*/ 1244763 w 2242827"/>
              <a:gd name="connsiteY50" fmla="*/ 108614 h 2102966"/>
              <a:gd name="connsiteX51" fmla="*/ 0 w 2242827"/>
              <a:gd name="connsiteY51" fmla="*/ 1123397 h 2102966"/>
              <a:gd name="connsiteX52" fmla="*/ 0 w 2242827"/>
              <a:gd name="connsiteY52" fmla="*/ 1101121 h 2102966"/>
              <a:gd name="connsiteX53" fmla="*/ 1222940 w 2242827"/>
              <a:gd name="connsiteY53" fmla="*/ 104135 h 2102966"/>
              <a:gd name="connsiteX54" fmla="*/ 1115178 w 2242827"/>
              <a:gd name="connsiteY54" fmla="*/ 0 h 2102966"/>
              <a:gd name="connsiteX55" fmla="*/ 1137688 w 2242827"/>
              <a:gd name="connsiteY55" fmla="*/ 0 h 2102966"/>
              <a:gd name="connsiteX56" fmla="*/ 1124836 w 2242827"/>
              <a:gd name="connsiteY56" fmla="*/ 83962 h 2102966"/>
              <a:gd name="connsiteX57" fmla="*/ 0 w 2242827"/>
              <a:gd name="connsiteY57" fmla="*/ 1000978 h 2102966"/>
              <a:gd name="connsiteX58" fmla="*/ 0 w 2242827"/>
              <a:gd name="connsiteY58" fmla="*/ 978703 h 2102966"/>
              <a:gd name="connsiteX59" fmla="*/ 1103012 w 2242827"/>
              <a:gd name="connsiteY59" fmla="*/ 79485 h 2102966"/>
              <a:gd name="connsiteX60" fmla="*/ 991375 w 2242827"/>
              <a:gd name="connsiteY60" fmla="*/ 0 h 2102966"/>
              <a:gd name="connsiteX61" fmla="*/ 1013997 w 2242827"/>
              <a:gd name="connsiteY61" fmla="*/ 0 h 2102966"/>
              <a:gd name="connsiteX62" fmla="*/ 1004915 w 2242827"/>
              <a:gd name="connsiteY62" fmla="*/ 59331 h 2102966"/>
              <a:gd name="connsiteX63" fmla="*/ 0 w 2242827"/>
              <a:gd name="connsiteY63" fmla="*/ 878583 h 2102966"/>
              <a:gd name="connsiteX64" fmla="*/ 0 w 2242827"/>
              <a:gd name="connsiteY64" fmla="*/ 856307 h 2102966"/>
              <a:gd name="connsiteX65" fmla="*/ 982981 w 2242827"/>
              <a:gd name="connsiteY65" fmla="*/ 54853 h 2102966"/>
              <a:gd name="connsiteX66" fmla="*/ 866108 w 2242827"/>
              <a:gd name="connsiteY66" fmla="*/ 0 h 2102966"/>
              <a:gd name="connsiteX67" fmla="*/ 888384 w 2242827"/>
              <a:gd name="connsiteY67" fmla="*/ 0 h 2102966"/>
              <a:gd name="connsiteX68" fmla="*/ 884876 w 2242827"/>
              <a:gd name="connsiteY68" fmla="*/ 34680 h 2102966"/>
              <a:gd name="connsiteX69" fmla="*/ 0 w 2242827"/>
              <a:gd name="connsiteY69" fmla="*/ 756058 h 2102966"/>
              <a:gd name="connsiteX70" fmla="*/ 0 w 2242827"/>
              <a:gd name="connsiteY70" fmla="*/ 733782 h 2102966"/>
              <a:gd name="connsiteX71" fmla="*/ 863057 w 2242827"/>
              <a:gd name="connsiteY71" fmla="*/ 30169 h 2102966"/>
              <a:gd name="connsiteX72" fmla="*/ 743692 w 2242827"/>
              <a:gd name="connsiteY72" fmla="*/ 0 h 2102966"/>
              <a:gd name="connsiteX73" fmla="*/ 765973 w 2242827"/>
              <a:gd name="connsiteY73" fmla="*/ 0 h 2102966"/>
              <a:gd name="connsiteX74" fmla="*/ 764957 w 2242827"/>
              <a:gd name="connsiteY74" fmla="*/ 10048 h 2102966"/>
              <a:gd name="connsiteX75" fmla="*/ 0 w 2242827"/>
              <a:gd name="connsiteY75" fmla="*/ 633662 h 2102966"/>
              <a:gd name="connsiteX76" fmla="*/ 0 w 2242827"/>
              <a:gd name="connsiteY76" fmla="*/ 611386 h 2102966"/>
              <a:gd name="connsiteX77" fmla="*/ 743129 w 2242827"/>
              <a:gd name="connsiteY77" fmla="*/ 5570 h 2102966"/>
              <a:gd name="connsiteX78" fmla="*/ 617163 w 2242827"/>
              <a:gd name="connsiteY78" fmla="*/ 0 h 2102966"/>
              <a:gd name="connsiteX79" fmla="*/ 640489 w 2242827"/>
              <a:gd name="connsiteY79" fmla="*/ 0 h 2102966"/>
              <a:gd name="connsiteX80" fmla="*/ 606611 w 2242827"/>
              <a:gd name="connsiteY80" fmla="*/ 108906 h 2102966"/>
              <a:gd name="connsiteX81" fmla="*/ 0 w 2242827"/>
              <a:gd name="connsiteY81" fmla="*/ 511248 h 2102966"/>
              <a:gd name="connsiteX82" fmla="*/ 0 w 2242827"/>
              <a:gd name="connsiteY82" fmla="*/ 488972 h 2102966"/>
              <a:gd name="connsiteX83" fmla="*/ 585980 w 2242827"/>
              <a:gd name="connsiteY83" fmla="*/ 100252 h 2102966"/>
              <a:gd name="connsiteX84" fmla="*/ 489561 w 2242827"/>
              <a:gd name="connsiteY84" fmla="*/ 0 h 2102966"/>
              <a:gd name="connsiteX85" fmla="*/ 512789 w 2242827"/>
              <a:gd name="connsiteY85" fmla="*/ 0 h 2102966"/>
              <a:gd name="connsiteX86" fmla="*/ 493721 w 2242827"/>
              <a:gd name="connsiteY86" fmla="*/ 61289 h 2102966"/>
              <a:gd name="connsiteX87" fmla="*/ 0 w 2242827"/>
              <a:gd name="connsiteY87" fmla="*/ 388735 h 2102966"/>
              <a:gd name="connsiteX88" fmla="*/ 0 w 2242827"/>
              <a:gd name="connsiteY88" fmla="*/ 366459 h 2102966"/>
              <a:gd name="connsiteX89" fmla="*/ 473199 w 2242827"/>
              <a:gd name="connsiteY89" fmla="*/ 52587 h 2102966"/>
              <a:gd name="connsiteX90" fmla="*/ 361966 w 2242827"/>
              <a:gd name="connsiteY90" fmla="*/ 0 h 2102966"/>
              <a:gd name="connsiteX91" fmla="*/ 385181 w 2242827"/>
              <a:gd name="connsiteY91" fmla="*/ 0 h 2102966"/>
              <a:gd name="connsiteX92" fmla="*/ 380937 w 2242827"/>
              <a:gd name="connsiteY92" fmla="*/ 13636 h 2102966"/>
              <a:gd name="connsiteX93" fmla="*/ 0 w 2242827"/>
              <a:gd name="connsiteY93" fmla="*/ 266328 h 2102966"/>
              <a:gd name="connsiteX94" fmla="*/ 0 w 2242827"/>
              <a:gd name="connsiteY94" fmla="*/ 244052 h 2102966"/>
              <a:gd name="connsiteX95" fmla="*/ 360416 w 2242827"/>
              <a:gd name="connsiteY95" fmla="*/ 4982 h 2102966"/>
              <a:gd name="connsiteX96" fmla="*/ 218905 w 2242827"/>
              <a:gd name="connsiteY96" fmla="*/ 0 h 2102966"/>
              <a:gd name="connsiteX97" fmla="*/ 249720 w 2242827"/>
              <a:gd name="connsiteY97" fmla="*/ 0 h 2102966"/>
              <a:gd name="connsiteX98" fmla="*/ 241311 w 2242827"/>
              <a:gd name="connsiteY98" fmla="*/ 15475 h 2102966"/>
              <a:gd name="connsiteX99" fmla="*/ 0 w 2242827"/>
              <a:gd name="connsiteY99" fmla="*/ 143932 h 2102966"/>
              <a:gd name="connsiteX100" fmla="*/ 0 w 2242827"/>
              <a:gd name="connsiteY100" fmla="*/ 121656 h 2102966"/>
              <a:gd name="connsiteX101" fmla="*/ 189966 w 2242827"/>
              <a:gd name="connsiteY101" fmla="*/ 42875 h 21029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</a:cxnLst>
            <a:rect l="l" t="t" r="r" b="b"/>
            <a:pathLst>
              <a:path w="2242827" h="2102966">
                <a:moveTo>
                  <a:pt x="2220549" y="0"/>
                </a:moveTo>
                <a:lnTo>
                  <a:pt x="2242827" y="0"/>
                </a:lnTo>
                <a:lnTo>
                  <a:pt x="2238641" y="82607"/>
                </a:lnTo>
                <a:cubicBezTo>
                  <a:pt x="2123193" y="1215807"/>
                  <a:pt x="1163255" y="2102966"/>
                  <a:pt x="1" y="2102966"/>
                </a:cubicBezTo>
                <a:lnTo>
                  <a:pt x="1" y="2080690"/>
                </a:lnTo>
                <a:cubicBezTo>
                  <a:pt x="1151759" y="2080690"/>
                  <a:pt x="2102176" y="1202330"/>
                  <a:pt x="2216479" y="80336"/>
                </a:cubicBezTo>
                <a:close/>
                <a:moveTo>
                  <a:pt x="2098030" y="0"/>
                </a:moveTo>
                <a:lnTo>
                  <a:pt x="2120412" y="0"/>
                </a:lnTo>
                <a:lnTo>
                  <a:pt x="2116859" y="70117"/>
                </a:lnTo>
                <a:cubicBezTo>
                  <a:pt x="2007691" y="1141666"/>
                  <a:pt x="1099966" y="1980571"/>
                  <a:pt x="1" y="1980571"/>
                </a:cubicBezTo>
                <a:lnTo>
                  <a:pt x="1" y="1958295"/>
                </a:lnTo>
                <a:cubicBezTo>
                  <a:pt x="1088470" y="1958295"/>
                  <a:pt x="1986577" y="1128187"/>
                  <a:pt x="2094588" y="67938"/>
                </a:cubicBezTo>
                <a:close/>
                <a:moveTo>
                  <a:pt x="1975608" y="0"/>
                </a:moveTo>
                <a:lnTo>
                  <a:pt x="1997887" y="0"/>
                </a:lnTo>
                <a:lnTo>
                  <a:pt x="1994968" y="57611"/>
                </a:lnTo>
                <a:cubicBezTo>
                  <a:pt x="1892090" y="1067493"/>
                  <a:pt x="1036676" y="1858047"/>
                  <a:pt x="1" y="1858047"/>
                </a:cubicBezTo>
                <a:lnTo>
                  <a:pt x="1" y="1835771"/>
                </a:lnTo>
                <a:cubicBezTo>
                  <a:pt x="1025181" y="1835771"/>
                  <a:pt x="1871073" y="1053919"/>
                  <a:pt x="1972805" y="55322"/>
                </a:cubicBezTo>
                <a:close/>
                <a:moveTo>
                  <a:pt x="1853193" y="0"/>
                </a:moveTo>
                <a:lnTo>
                  <a:pt x="1875472" y="0"/>
                </a:lnTo>
                <a:lnTo>
                  <a:pt x="1873186" y="45119"/>
                </a:lnTo>
                <a:cubicBezTo>
                  <a:pt x="1776588" y="993350"/>
                  <a:pt x="973388" y="1735650"/>
                  <a:pt x="0" y="1735650"/>
                </a:cubicBezTo>
                <a:lnTo>
                  <a:pt x="0" y="1713374"/>
                </a:lnTo>
                <a:cubicBezTo>
                  <a:pt x="961784" y="1713374"/>
                  <a:pt x="1755557" y="979877"/>
                  <a:pt x="1851022" y="42848"/>
                </a:cubicBezTo>
                <a:close/>
                <a:moveTo>
                  <a:pt x="1730668" y="0"/>
                </a:moveTo>
                <a:lnTo>
                  <a:pt x="1753056" y="0"/>
                </a:lnTo>
                <a:lnTo>
                  <a:pt x="1751404" y="32610"/>
                </a:lnTo>
                <a:cubicBezTo>
                  <a:pt x="1661086" y="919190"/>
                  <a:pt x="910098" y="1613232"/>
                  <a:pt x="0" y="1613232"/>
                </a:cubicBezTo>
                <a:lnTo>
                  <a:pt x="0" y="1590961"/>
                </a:lnTo>
                <a:cubicBezTo>
                  <a:pt x="898495" y="1590961"/>
                  <a:pt x="1639954" y="905712"/>
                  <a:pt x="1729127" y="30432"/>
                </a:cubicBezTo>
                <a:close/>
                <a:moveTo>
                  <a:pt x="1608247" y="0"/>
                </a:moveTo>
                <a:lnTo>
                  <a:pt x="1630525" y="0"/>
                </a:lnTo>
                <a:lnTo>
                  <a:pt x="1629507" y="20086"/>
                </a:lnTo>
                <a:cubicBezTo>
                  <a:pt x="1545469" y="844919"/>
                  <a:pt x="846701" y="1490712"/>
                  <a:pt x="0" y="1490712"/>
                </a:cubicBezTo>
                <a:lnTo>
                  <a:pt x="0" y="1468436"/>
                </a:lnTo>
                <a:cubicBezTo>
                  <a:pt x="835206" y="1468436"/>
                  <a:pt x="1524451" y="831445"/>
                  <a:pt x="1607345" y="17816"/>
                </a:cubicBezTo>
                <a:close/>
                <a:moveTo>
                  <a:pt x="1485833" y="0"/>
                </a:moveTo>
                <a:lnTo>
                  <a:pt x="1508109" y="0"/>
                </a:lnTo>
                <a:lnTo>
                  <a:pt x="1507724" y="7596"/>
                </a:lnTo>
                <a:cubicBezTo>
                  <a:pt x="1429966" y="770778"/>
                  <a:pt x="783416" y="1368317"/>
                  <a:pt x="0" y="1368317"/>
                </a:cubicBezTo>
                <a:lnTo>
                  <a:pt x="0" y="1346041"/>
                </a:lnTo>
                <a:cubicBezTo>
                  <a:pt x="771917" y="1346041"/>
                  <a:pt x="1408949" y="757304"/>
                  <a:pt x="1485563" y="5325"/>
                </a:cubicBezTo>
                <a:close/>
                <a:moveTo>
                  <a:pt x="1362591" y="0"/>
                </a:moveTo>
                <a:lnTo>
                  <a:pt x="1385194" y="0"/>
                </a:lnTo>
                <a:lnTo>
                  <a:pt x="1364797" y="133264"/>
                </a:lnTo>
                <a:cubicBezTo>
                  <a:pt x="1234684" y="767432"/>
                  <a:pt x="672215" y="1245917"/>
                  <a:pt x="0" y="1245917"/>
                </a:cubicBezTo>
                <a:lnTo>
                  <a:pt x="0" y="1223641"/>
                </a:lnTo>
                <a:cubicBezTo>
                  <a:pt x="661385" y="1223641"/>
                  <a:pt x="1214835" y="752908"/>
                  <a:pt x="1342864" y="128894"/>
                </a:cubicBezTo>
                <a:close/>
                <a:moveTo>
                  <a:pt x="1238878" y="0"/>
                </a:moveTo>
                <a:lnTo>
                  <a:pt x="1261388" y="0"/>
                </a:lnTo>
                <a:lnTo>
                  <a:pt x="1244763" y="108614"/>
                </a:lnTo>
                <a:cubicBezTo>
                  <a:pt x="1126083" y="687031"/>
                  <a:pt x="613049" y="1123397"/>
                  <a:pt x="0" y="1123397"/>
                </a:cubicBezTo>
                <a:lnTo>
                  <a:pt x="0" y="1101121"/>
                </a:lnTo>
                <a:cubicBezTo>
                  <a:pt x="602316" y="1101121"/>
                  <a:pt x="1106344" y="672419"/>
                  <a:pt x="1222940" y="104135"/>
                </a:cubicBezTo>
                <a:close/>
                <a:moveTo>
                  <a:pt x="1115178" y="0"/>
                </a:moveTo>
                <a:lnTo>
                  <a:pt x="1137688" y="0"/>
                </a:lnTo>
                <a:lnTo>
                  <a:pt x="1124836" y="83962"/>
                </a:lnTo>
                <a:cubicBezTo>
                  <a:pt x="1017592" y="606647"/>
                  <a:pt x="553979" y="1000978"/>
                  <a:pt x="0" y="1000978"/>
                </a:cubicBezTo>
                <a:lnTo>
                  <a:pt x="0" y="978703"/>
                </a:lnTo>
                <a:cubicBezTo>
                  <a:pt x="543246" y="978703"/>
                  <a:pt x="997852" y="592039"/>
                  <a:pt x="1103012" y="79485"/>
                </a:cubicBezTo>
                <a:close/>
                <a:moveTo>
                  <a:pt x="991375" y="0"/>
                </a:moveTo>
                <a:lnTo>
                  <a:pt x="1013997" y="0"/>
                </a:lnTo>
                <a:lnTo>
                  <a:pt x="1004915" y="59331"/>
                </a:lnTo>
                <a:cubicBezTo>
                  <a:pt x="909100" y="526286"/>
                  <a:pt x="494909" y="878583"/>
                  <a:pt x="0" y="878583"/>
                </a:cubicBezTo>
                <a:lnTo>
                  <a:pt x="0" y="856307"/>
                </a:lnTo>
                <a:cubicBezTo>
                  <a:pt x="484176" y="856307"/>
                  <a:pt x="889272" y="511676"/>
                  <a:pt x="982981" y="54853"/>
                </a:cubicBezTo>
                <a:close/>
                <a:moveTo>
                  <a:pt x="866108" y="0"/>
                </a:moveTo>
                <a:lnTo>
                  <a:pt x="888384" y="0"/>
                </a:lnTo>
                <a:lnTo>
                  <a:pt x="884876" y="34680"/>
                </a:lnTo>
                <a:cubicBezTo>
                  <a:pt x="800495" y="445883"/>
                  <a:pt x="435739" y="756058"/>
                  <a:pt x="0" y="756058"/>
                </a:cubicBezTo>
                <a:lnTo>
                  <a:pt x="0" y="733782"/>
                </a:lnTo>
                <a:cubicBezTo>
                  <a:pt x="425107" y="733782"/>
                  <a:pt x="780781" y="431187"/>
                  <a:pt x="863057" y="30169"/>
                </a:cubicBezTo>
                <a:close/>
                <a:moveTo>
                  <a:pt x="743692" y="0"/>
                </a:moveTo>
                <a:lnTo>
                  <a:pt x="765973" y="0"/>
                </a:lnTo>
                <a:lnTo>
                  <a:pt x="764957" y="10048"/>
                </a:lnTo>
                <a:cubicBezTo>
                  <a:pt x="692029" y="365521"/>
                  <a:pt x="376767" y="633662"/>
                  <a:pt x="0" y="633662"/>
                </a:cubicBezTo>
                <a:lnTo>
                  <a:pt x="0" y="611386"/>
                </a:lnTo>
                <a:cubicBezTo>
                  <a:pt x="365938" y="611386"/>
                  <a:pt x="672265" y="350911"/>
                  <a:pt x="743129" y="5570"/>
                </a:cubicBezTo>
                <a:close/>
                <a:moveTo>
                  <a:pt x="617163" y="0"/>
                </a:moveTo>
                <a:lnTo>
                  <a:pt x="640489" y="0"/>
                </a:lnTo>
                <a:lnTo>
                  <a:pt x="606611" y="108906"/>
                </a:lnTo>
                <a:cubicBezTo>
                  <a:pt x="506524" y="345128"/>
                  <a:pt x="272312" y="511248"/>
                  <a:pt x="0" y="511248"/>
                </a:cubicBezTo>
                <a:lnTo>
                  <a:pt x="0" y="488972"/>
                </a:lnTo>
                <a:cubicBezTo>
                  <a:pt x="263030" y="488972"/>
                  <a:pt x="489290" y="328485"/>
                  <a:pt x="585980" y="100252"/>
                </a:cubicBezTo>
                <a:close/>
                <a:moveTo>
                  <a:pt x="489561" y="0"/>
                </a:moveTo>
                <a:lnTo>
                  <a:pt x="512789" y="0"/>
                </a:lnTo>
                <a:lnTo>
                  <a:pt x="493721" y="61289"/>
                </a:lnTo>
                <a:cubicBezTo>
                  <a:pt x="412246" y="253561"/>
                  <a:pt x="221597" y="388735"/>
                  <a:pt x="0" y="388735"/>
                </a:cubicBezTo>
                <a:lnTo>
                  <a:pt x="0" y="366459"/>
                </a:lnTo>
                <a:cubicBezTo>
                  <a:pt x="212399" y="366459"/>
                  <a:pt x="395116" y="236854"/>
                  <a:pt x="473199" y="52587"/>
                </a:cubicBezTo>
                <a:close/>
                <a:moveTo>
                  <a:pt x="361966" y="0"/>
                </a:moveTo>
                <a:lnTo>
                  <a:pt x="385181" y="0"/>
                </a:lnTo>
                <a:lnTo>
                  <a:pt x="380937" y="13636"/>
                </a:lnTo>
                <a:cubicBezTo>
                  <a:pt x="318070" y="161973"/>
                  <a:pt x="170965" y="266328"/>
                  <a:pt x="0" y="266328"/>
                </a:cubicBezTo>
                <a:lnTo>
                  <a:pt x="0" y="244052"/>
                </a:lnTo>
                <a:cubicBezTo>
                  <a:pt x="161767" y="244052"/>
                  <a:pt x="300940" y="145329"/>
                  <a:pt x="360416" y="4982"/>
                </a:cubicBezTo>
                <a:close/>
                <a:moveTo>
                  <a:pt x="218905" y="0"/>
                </a:moveTo>
                <a:lnTo>
                  <a:pt x="249720" y="0"/>
                </a:lnTo>
                <a:lnTo>
                  <a:pt x="241311" y="15475"/>
                </a:lnTo>
                <a:cubicBezTo>
                  <a:pt x="188962" y="92909"/>
                  <a:pt x="100349" y="143932"/>
                  <a:pt x="0" y="143932"/>
                </a:cubicBezTo>
                <a:lnTo>
                  <a:pt x="0" y="121656"/>
                </a:lnTo>
                <a:cubicBezTo>
                  <a:pt x="74091" y="121656"/>
                  <a:pt x="141290" y="91533"/>
                  <a:pt x="189966" y="42875"/>
                </a:cubicBezTo>
                <a:close/>
              </a:path>
            </a:pathLst>
          </a:custGeom>
          <a:solidFill>
            <a:schemeClr val="accent3">
              <a:lumMod val="20000"/>
              <a:lumOff val="80000"/>
            </a:schemeClr>
          </a:solidFill>
          <a:ln w="4588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467008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C35EFB42-020B-1DF4-3D42-26092CE45F08}"/>
              </a:ext>
            </a:extLst>
          </p:cNvPr>
          <p:cNvSpPr/>
          <p:nvPr userDrawn="1"/>
        </p:nvSpPr>
        <p:spPr>
          <a:xfrm>
            <a:off x="0" y="3427336"/>
            <a:ext cx="3430200" cy="3430665"/>
          </a:xfrm>
          <a:custGeom>
            <a:avLst/>
            <a:gdLst>
              <a:gd name="connsiteX0" fmla="*/ 0 w 3430200"/>
              <a:gd name="connsiteY0" fmla="*/ 0 h 3430665"/>
              <a:gd name="connsiteX1" fmla="*/ 3430200 w 3430200"/>
              <a:gd name="connsiteY1" fmla="*/ 0 h 3430665"/>
              <a:gd name="connsiteX2" fmla="*/ 3430200 w 3430200"/>
              <a:gd name="connsiteY2" fmla="*/ 3430665 h 3430665"/>
              <a:gd name="connsiteX3" fmla="*/ 0 w 3430200"/>
              <a:gd name="connsiteY3" fmla="*/ 3430665 h 34306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30200" h="3430665">
                <a:moveTo>
                  <a:pt x="0" y="0"/>
                </a:moveTo>
                <a:lnTo>
                  <a:pt x="3430200" y="0"/>
                </a:lnTo>
                <a:lnTo>
                  <a:pt x="3430200" y="3430665"/>
                </a:lnTo>
                <a:lnTo>
                  <a:pt x="0" y="3430665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US">
              <a:solidFill>
                <a:schemeClr val="tx1"/>
              </a:solidFill>
            </a:endParaRPr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AB4DD322-D1E0-74CB-BBFF-057426E58EBC}"/>
              </a:ext>
            </a:extLst>
          </p:cNvPr>
          <p:cNvSpPr/>
          <p:nvPr userDrawn="1"/>
        </p:nvSpPr>
        <p:spPr>
          <a:xfrm>
            <a:off x="0" y="3427336"/>
            <a:ext cx="3430200" cy="3430665"/>
          </a:xfrm>
          <a:custGeom>
            <a:avLst/>
            <a:gdLst>
              <a:gd name="connsiteX0" fmla="*/ 3430200 w 3430200"/>
              <a:gd name="connsiteY0" fmla="*/ 0 h 3430665"/>
              <a:gd name="connsiteX1" fmla="*/ 3430200 w 3430200"/>
              <a:gd name="connsiteY1" fmla="*/ 3430665 h 3430665"/>
              <a:gd name="connsiteX2" fmla="*/ 0 w 3430200"/>
              <a:gd name="connsiteY2" fmla="*/ 3430665 h 3430665"/>
              <a:gd name="connsiteX3" fmla="*/ 0 w 3430200"/>
              <a:gd name="connsiteY3" fmla="*/ 3417531 h 34306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30200" h="3430665">
                <a:moveTo>
                  <a:pt x="3430200" y="0"/>
                </a:moveTo>
                <a:lnTo>
                  <a:pt x="3430200" y="3430665"/>
                </a:lnTo>
                <a:lnTo>
                  <a:pt x="0" y="3430665"/>
                </a:lnTo>
                <a:lnTo>
                  <a:pt x="0" y="341753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US">
              <a:solidFill>
                <a:schemeClr val="tx1"/>
              </a:solidFill>
            </a:endParaRP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C11D3FCE-EC92-8558-A3E5-04DB12477A3B}"/>
              </a:ext>
            </a:extLst>
          </p:cNvPr>
          <p:cNvSpPr/>
          <p:nvPr userDrawn="1"/>
        </p:nvSpPr>
        <p:spPr>
          <a:xfrm>
            <a:off x="1" y="1"/>
            <a:ext cx="3423785" cy="3437345"/>
          </a:xfrm>
          <a:custGeom>
            <a:avLst/>
            <a:gdLst>
              <a:gd name="connsiteX0" fmla="*/ 0 w 3423785"/>
              <a:gd name="connsiteY0" fmla="*/ 0 h 3437345"/>
              <a:gd name="connsiteX1" fmla="*/ 3423785 w 3423785"/>
              <a:gd name="connsiteY1" fmla="*/ 0 h 3437345"/>
              <a:gd name="connsiteX2" fmla="*/ 3423785 w 3423785"/>
              <a:gd name="connsiteY2" fmla="*/ 3437345 h 3437345"/>
              <a:gd name="connsiteX3" fmla="*/ 0 w 3423785"/>
              <a:gd name="connsiteY3" fmla="*/ 3437345 h 34373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23785" h="3437345">
                <a:moveTo>
                  <a:pt x="0" y="0"/>
                </a:moveTo>
                <a:lnTo>
                  <a:pt x="3423785" y="0"/>
                </a:lnTo>
                <a:lnTo>
                  <a:pt x="3423785" y="3437345"/>
                </a:lnTo>
                <a:lnTo>
                  <a:pt x="0" y="3437345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US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 userDrawn="1">
            <p:ph type="title"/>
          </p:nvPr>
        </p:nvSpPr>
        <p:spPr>
          <a:xfrm>
            <a:off x="4224528" y="2276856"/>
            <a:ext cx="6766560" cy="768096"/>
          </a:xfrm>
        </p:spPr>
        <p:txBody>
          <a:bodyPr>
            <a:noAutofit/>
          </a:bodyPr>
          <a:lstStyle>
            <a:lvl1pPr algn="l">
              <a:lnSpc>
                <a:spcPct val="100000"/>
              </a:lnSpc>
              <a:defRPr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 userDrawn="1">
            <p:ph idx="1"/>
          </p:nvPr>
        </p:nvSpPr>
        <p:spPr>
          <a:xfrm>
            <a:off x="4224528" y="3222752"/>
            <a:ext cx="6766560" cy="2700528"/>
          </a:xfrm>
        </p:spPr>
        <p:txBody>
          <a:bodyPr>
            <a:noAutofit/>
          </a:bodyPr>
          <a:lstStyle>
            <a:lvl1pPr marL="0" indent="0">
              <a:buNone/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 userDrawn="1">
            <p:ph type="ftr" sz="quarter" idx="11"/>
          </p:nvPr>
        </p:nvSpPr>
        <p:spPr>
          <a:xfrm>
            <a:off x="4224528" y="457200"/>
            <a:ext cx="3200400" cy="274320"/>
          </a:xfrm>
        </p:spPr>
        <p:txBody>
          <a:bodyPr>
            <a:noAutofit/>
          </a:bodyPr>
          <a:lstStyle/>
          <a:p>
            <a:r>
              <a:rPr lang="en-US"/>
              <a:t>Presentation title</a:t>
            </a:r>
          </a:p>
        </p:txBody>
      </p:sp>
      <p:sp>
        <p:nvSpPr>
          <p:cNvPr id="6" name="Slide Number Placeholder 5"/>
          <p:cNvSpPr>
            <a:spLocks noGrp="1"/>
          </p:cNvSpPr>
          <p:nvPr userDrawn="1">
            <p:ph type="sldNum" sz="quarter" idx="12"/>
          </p:nvPr>
        </p:nvSpPr>
        <p:spPr/>
        <p:txBody>
          <a:bodyPr>
            <a:noAutofit/>
          </a:bodyPr>
          <a:lstStyle/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217CBC9E-B934-828F-2AE5-211CEF5B1D25}"/>
              </a:ext>
            </a:extLst>
          </p:cNvPr>
          <p:cNvSpPr/>
          <p:nvPr userDrawn="1"/>
        </p:nvSpPr>
        <p:spPr>
          <a:xfrm>
            <a:off x="1" y="869"/>
            <a:ext cx="3423785" cy="3436477"/>
          </a:xfrm>
          <a:custGeom>
            <a:avLst/>
            <a:gdLst>
              <a:gd name="connsiteX0" fmla="*/ 0 w 3423785"/>
              <a:gd name="connsiteY0" fmla="*/ 0 h 3436477"/>
              <a:gd name="connsiteX1" fmla="*/ 3423785 w 3423785"/>
              <a:gd name="connsiteY1" fmla="*/ 3436477 h 3436477"/>
              <a:gd name="connsiteX2" fmla="*/ 0 w 3423785"/>
              <a:gd name="connsiteY2" fmla="*/ 3436477 h 34364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423785" h="3436477">
                <a:moveTo>
                  <a:pt x="0" y="0"/>
                </a:moveTo>
                <a:lnTo>
                  <a:pt x="3423785" y="3436477"/>
                </a:lnTo>
                <a:lnTo>
                  <a:pt x="0" y="3436477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218325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Freeform: Shape 33">
            <a:extLst>
              <a:ext uri="{FF2B5EF4-FFF2-40B4-BE49-F238E27FC236}">
                <a16:creationId xmlns:a16="http://schemas.microsoft.com/office/drawing/2014/main" id="{3D352B04-96E6-839B-9D92-EE98385C4D49}"/>
              </a:ext>
            </a:extLst>
          </p:cNvPr>
          <p:cNvSpPr/>
          <p:nvPr userDrawn="1"/>
        </p:nvSpPr>
        <p:spPr>
          <a:xfrm>
            <a:off x="2062836" y="686475"/>
            <a:ext cx="7774629" cy="6193018"/>
          </a:xfrm>
          <a:custGeom>
            <a:avLst/>
            <a:gdLst>
              <a:gd name="connsiteX0" fmla="*/ 3887320 w 7774629"/>
              <a:gd name="connsiteY0" fmla="*/ 0 h 6193018"/>
              <a:gd name="connsiteX1" fmla="*/ 7774629 w 7774629"/>
              <a:gd name="connsiteY1" fmla="*/ 3884811 h 6193018"/>
              <a:gd name="connsiteX2" fmla="*/ 7774629 w 7774629"/>
              <a:gd name="connsiteY2" fmla="*/ 6193018 h 6193018"/>
              <a:gd name="connsiteX3" fmla="*/ 0 w 7774629"/>
              <a:gd name="connsiteY3" fmla="*/ 6193018 h 6193018"/>
              <a:gd name="connsiteX4" fmla="*/ 0 w 7774629"/>
              <a:gd name="connsiteY4" fmla="*/ 3884811 h 6193018"/>
              <a:gd name="connsiteX5" fmla="*/ 3887320 w 7774629"/>
              <a:gd name="connsiteY5" fmla="*/ 0 h 61930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774629" h="6193018">
                <a:moveTo>
                  <a:pt x="3887320" y="0"/>
                </a:moveTo>
                <a:cubicBezTo>
                  <a:pt x="6034243" y="0"/>
                  <a:pt x="7774629" y="1739299"/>
                  <a:pt x="7774629" y="3884811"/>
                </a:cubicBezTo>
                <a:lnTo>
                  <a:pt x="7774629" y="6193018"/>
                </a:lnTo>
                <a:lnTo>
                  <a:pt x="0" y="6193018"/>
                </a:lnTo>
                <a:lnTo>
                  <a:pt x="0" y="3884811"/>
                </a:lnTo>
                <a:cubicBezTo>
                  <a:pt x="0" y="1739299"/>
                  <a:pt x="1740414" y="0"/>
                  <a:pt x="3887320" y="0"/>
                </a:cubicBezTo>
                <a:close/>
              </a:path>
            </a:pathLst>
          </a:custGeom>
          <a:solidFill>
            <a:schemeClr val="accent2">
              <a:lumMod val="20000"/>
              <a:lumOff val="80000"/>
              <a:alpha val="99000"/>
            </a:schemeClr>
          </a:solidFill>
          <a:ln w="5439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>
              <a:solidFill>
                <a:schemeClr val="tx1"/>
              </a:solidFill>
            </a:endParaRPr>
          </a:p>
        </p:txBody>
      </p:sp>
      <p:sp>
        <p:nvSpPr>
          <p:cNvPr id="46" name="Freeform: Shape 45">
            <a:extLst>
              <a:ext uri="{FF2B5EF4-FFF2-40B4-BE49-F238E27FC236}">
                <a16:creationId xmlns:a16="http://schemas.microsoft.com/office/drawing/2014/main" id="{723D98FB-5EB7-A8DF-8470-B23A80D669E4}"/>
              </a:ext>
            </a:extLst>
          </p:cNvPr>
          <p:cNvSpPr/>
          <p:nvPr userDrawn="1"/>
        </p:nvSpPr>
        <p:spPr>
          <a:xfrm>
            <a:off x="7610252" y="1"/>
            <a:ext cx="2273668" cy="3147998"/>
          </a:xfrm>
          <a:custGeom>
            <a:avLst/>
            <a:gdLst>
              <a:gd name="connsiteX0" fmla="*/ 183295 w 2273668"/>
              <a:gd name="connsiteY0" fmla="*/ 0 h 3147998"/>
              <a:gd name="connsiteX1" fmla="*/ 2273668 w 2273668"/>
              <a:gd name="connsiteY1" fmla="*/ 0 h 3147998"/>
              <a:gd name="connsiteX2" fmla="*/ 2273668 w 2273668"/>
              <a:gd name="connsiteY2" fmla="*/ 3147998 h 3147998"/>
              <a:gd name="connsiteX3" fmla="*/ 2096300 w 2273668"/>
              <a:gd name="connsiteY3" fmla="*/ 3147998 h 3147998"/>
              <a:gd name="connsiteX4" fmla="*/ 2033714 w 2273668"/>
              <a:gd name="connsiteY4" fmla="*/ 3144814 h 3147998"/>
              <a:gd name="connsiteX5" fmla="*/ 0 w 2273668"/>
              <a:gd name="connsiteY5" fmla="*/ 886966 h 3147998"/>
              <a:gd name="connsiteX6" fmla="*/ 178732 w 2273668"/>
              <a:gd name="connsiteY6" fmla="*/ 9417 h 31479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273668" h="3147998">
                <a:moveTo>
                  <a:pt x="183295" y="0"/>
                </a:moveTo>
                <a:lnTo>
                  <a:pt x="2273668" y="0"/>
                </a:lnTo>
                <a:lnTo>
                  <a:pt x="2273668" y="3147998"/>
                </a:lnTo>
                <a:lnTo>
                  <a:pt x="2096300" y="3147998"/>
                </a:lnTo>
                <a:lnTo>
                  <a:pt x="2033714" y="3144814"/>
                </a:lnTo>
                <a:cubicBezTo>
                  <a:pt x="895944" y="3028420"/>
                  <a:pt x="0" y="2060597"/>
                  <a:pt x="0" y="886966"/>
                </a:cubicBezTo>
                <a:cubicBezTo>
                  <a:pt x="0" y="576250"/>
                  <a:pt x="63712" y="279606"/>
                  <a:pt x="178732" y="9417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US">
              <a:solidFill>
                <a:schemeClr val="tx1"/>
              </a:solidFill>
            </a:endParaRPr>
          </a:p>
        </p:txBody>
      </p:sp>
      <p:sp>
        <p:nvSpPr>
          <p:cNvPr id="43" name="Freeform: Shape 42">
            <a:extLst>
              <a:ext uri="{FF2B5EF4-FFF2-40B4-BE49-F238E27FC236}">
                <a16:creationId xmlns:a16="http://schemas.microsoft.com/office/drawing/2014/main" id="{4550F3CE-BAE9-3916-42CA-F4D906FA5173}"/>
              </a:ext>
            </a:extLst>
          </p:cNvPr>
          <p:cNvSpPr/>
          <p:nvPr userDrawn="1"/>
        </p:nvSpPr>
        <p:spPr>
          <a:xfrm>
            <a:off x="9883919" y="2"/>
            <a:ext cx="2254928" cy="3141557"/>
          </a:xfrm>
          <a:custGeom>
            <a:avLst/>
            <a:gdLst>
              <a:gd name="connsiteX0" fmla="*/ 0 w 2254928"/>
              <a:gd name="connsiteY0" fmla="*/ 0 h 3141557"/>
              <a:gd name="connsiteX1" fmla="*/ 2080472 w 2254928"/>
              <a:gd name="connsiteY1" fmla="*/ 0 h 3141557"/>
              <a:gd name="connsiteX2" fmla="*/ 2154269 w 2254928"/>
              <a:gd name="connsiteY2" fmla="*/ 202607 h 3141557"/>
              <a:gd name="connsiteX3" fmla="*/ 2254928 w 2254928"/>
              <a:gd name="connsiteY3" fmla="*/ 871976 h 3141557"/>
              <a:gd name="connsiteX4" fmla="*/ 231934 w 2254928"/>
              <a:gd name="connsiteY4" fmla="*/ 3128339 h 3141557"/>
              <a:gd name="connsiteX5" fmla="*/ 19 w 2254928"/>
              <a:gd name="connsiteY5" fmla="*/ 3141557 h 3141557"/>
              <a:gd name="connsiteX6" fmla="*/ 0 w 2254928"/>
              <a:gd name="connsiteY6" fmla="*/ 3141557 h 3141557"/>
              <a:gd name="connsiteX7" fmla="*/ 0 w 2254928"/>
              <a:gd name="connsiteY7" fmla="*/ 2729990 h 3141557"/>
              <a:gd name="connsiteX8" fmla="*/ 0 w 2254928"/>
              <a:gd name="connsiteY8" fmla="*/ 2344136 h 3141557"/>
              <a:gd name="connsiteX9" fmla="*/ 0 w 2254928"/>
              <a:gd name="connsiteY9" fmla="*/ 1983167 h 3141557"/>
              <a:gd name="connsiteX10" fmla="*/ 0 w 2254928"/>
              <a:gd name="connsiteY10" fmla="*/ 1646252 h 3141557"/>
              <a:gd name="connsiteX11" fmla="*/ 0 w 2254928"/>
              <a:gd name="connsiteY11" fmla="*/ 1332565 h 3141557"/>
              <a:gd name="connsiteX12" fmla="*/ 0 w 2254928"/>
              <a:gd name="connsiteY12" fmla="*/ 1041273 h 3141557"/>
              <a:gd name="connsiteX13" fmla="*/ 0 w 2254928"/>
              <a:gd name="connsiteY13" fmla="*/ 771549 h 3141557"/>
              <a:gd name="connsiteX14" fmla="*/ 0 w 2254928"/>
              <a:gd name="connsiteY14" fmla="*/ 522561 h 3141557"/>
              <a:gd name="connsiteX15" fmla="*/ 0 w 2254928"/>
              <a:gd name="connsiteY15" fmla="*/ 293482 h 3141557"/>
              <a:gd name="connsiteX16" fmla="*/ 0 w 2254928"/>
              <a:gd name="connsiteY16" fmla="*/ 83481 h 31415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2254928" h="3141557">
                <a:moveTo>
                  <a:pt x="0" y="0"/>
                </a:moveTo>
                <a:lnTo>
                  <a:pt x="2080472" y="0"/>
                </a:lnTo>
                <a:lnTo>
                  <a:pt x="2154269" y="202607"/>
                </a:lnTo>
                <a:cubicBezTo>
                  <a:pt x="2219730" y="414134"/>
                  <a:pt x="2254928" y="638939"/>
                  <a:pt x="2254928" y="871976"/>
                </a:cubicBezTo>
                <a:cubicBezTo>
                  <a:pt x="2254928" y="2045607"/>
                  <a:pt x="1374977" y="3005515"/>
                  <a:pt x="231934" y="3128339"/>
                </a:cubicBezTo>
                <a:lnTo>
                  <a:pt x="19" y="3141557"/>
                </a:lnTo>
                <a:lnTo>
                  <a:pt x="0" y="3141557"/>
                </a:lnTo>
                <a:lnTo>
                  <a:pt x="0" y="2729990"/>
                </a:lnTo>
                <a:lnTo>
                  <a:pt x="0" y="2344136"/>
                </a:lnTo>
                <a:lnTo>
                  <a:pt x="0" y="1983167"/>
                </a:lnTo>
                <a:lnTo>
                  <a:pt x="0" y="1646252"/>
                </a:lnTo>
                <a:lnTo>
                  <a:pt x="0" y="1332565"/>
                </a:lnTo>
                <a:lnTo>
                  <a:pt x="0" y="1041273"/>
                </a:lnTo>
                <a:lnTo>
                  <a:pt x="0" y="771549"/>
                </a:lnTo>
                <a:lnTo>
                  <a:pt x="0" y="522561"/>
                </a:lnTo>
                <a:lnTo>
                  <a:pt x="0" y="293482"/>
                </a:lnTo>
                <a:lnTo>
                  <a:pt x="0" y="83481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US">
              <a:solidFill>
                <a:schemeClr val="tx1"/>
              </a:solidFill>
            </a:endParaRPr>
          </a:p>
        </p:txBody>
      </p:sp>
      <p:sp>
        <p:nvSpPr>
          <p:cNvPr id="49" name="Freeform: Shape 48">
            <a:extLst>
              <a:ext uri="{FF2B5EF4-FFF2-40B4-BE49-F238E27FC236}">
                <a16:creationId xmlns:a16="http://schemas.microsoft.com/office/drawing/2014/main" id="{D83F65A0-0C52-48AD-DC5D-B5D3BF3CC188}"/>
              </a:ext>
            </a:extLst>
          </p:cNvPr>
          <p:cNvSpPr/>
          <p:nvPr userDrawn="1"/>
        </p:nvSpPr>
        <p:spPr>
          <a:xfrm>
            <a:off x="8395730" y="2"/>
            <a:ext cx="2959203" cy="2352793"/>
          </a:xfrm>
          <a:custGeom>
            <a:avLst/>
            <a:gdLst>
              <a:gd name="connsiteX0" fmla="*/ 289830 w 2959203"/>
              <a:gd name="connsiteY0" fmla="*/ 0 h 2352793"/>
              <a:gd name="connsiteX1" fmla="*/ 2669374 w 2959203"/>
              <a:gd name="connsiteY1" fmla="*/ 0 h 2352793"/>
              <a:gd name="connsiteX2" fmla="*/ 2706511 w 2959203"/>
              <a:gd name="connsiteY2" fmla="*/ 49584 h 2352793"/>
              <a:gd name="connsiteX3" fmla="*/ 2951565 w 2959203"/>
              <a:gd name="connsiteY3" fmla="*/ 724493 h 2352793"/>
              <a:gd name="connsiteX4" fmla="*/ 2959203 w 2959203"/>
              <a:gd name="connsiteY4" fmla="*/ 875514 h 2352793"/>
              <a:gd name="connsiteX5" fmla="*/ 2959203 w 2959203"/>
              <a:gd name="connsiteY5" fmla="*/ 875554 h 2352793"/>
              <a:gd name="connsiteX6" fmla="*/ 2951565 w 2959203"/>
              <a:gd name="connsiteY6" fmla="*/ 1026575 h 2352793"/>
              <a:gd name="connsiteX7" fmla="*/ 1479602 w 2959203"/>
              <a:gd name="connsiteY7" fmla="*/ 2352793 h 2352793"/>
              <a:gd name="connsiteX8" fmla="*/ 0 w 2959203"/>
              <a:gd name="connsiteY8" fmla="*/ 875534 h 2352793"/>
              <a:gd name="connsiteX9" fmla="*/ 252694 w 2959203"/>
              <a:gd name="connsiteY9" fmla="*/ 49584 h 23527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959203" h="2352793">
                <a:moveTo>
                  <a:pt x="289830" y="0"/>
                </a:moveTo>
                <a:lnTo>
                  <a:pt x="2669374" y="0"/>
                </a:lnTo>
                <a:lnTo>
                  <a:pt x="2706511" y="49584"/>
                </a:lnTo>
                <a:cubicBezTo>
                  <a:pt x="2839459" y="246061"/>
                  <a:pt x="2926309" y="476187"/>
                  <a:pt x="2951565" y="724493"/>
                </a:cubicBezTo>
                <a:lnTo>
                  <a:pt x="2959203" y="875514"/>
                </a:lnTo>
                <a:lnTo>
                  <a:pt x="2959203" y="875554"/>
                </a:lnTo>
                <a:lnTo>
                  <a:pt x="2951565" y="1026575"/>
                </a:lnTo>
                <a:cubicBezTo>
                  <a:pt x="2875795" y="1771492"/>
                  <a:pt x="2245691" y="2352793"/>
                  <a:pt x="1479602" y="2352793"/>
                </a:cubicBezTo>
                <a:cubicBezTo>
                  <a:pt x="662440" y="2352793"/>
                  <a:pt x="0" y="1691401"/>
                  <a:pt x="0" y="875534"/>
                </a:cubicBezTo>
                <a:cubicBezTo>
                  <a:pt x="0" y="569583"/>
                  <a:pt x="93156" y="285356"/>
                  <a:pt x="252694" y="4958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US">
              <a:solidFill>
                <a:schemeClr val="tx1"/>
              </a:solidFill>
            </a:endParaRPr>
          </a:p>
        </p:txBody>
      </p:sp>
      <p:sp>
        <p:nvSpPr>
          <p:cNvPr id="40" name="Freeform: Shape 39">
            <a:extLst>
              <a:ext uri="{FF2B5EF4-FFF2-40B4-BE49-F238E27FC236}">
                <a16:creationId xmlns:a16="http://schemas.microsoft.com/office/drawing/2014/main" id="{F8FA7F58-C470-6376-9DB1-DE7034C491E8}"/>
              </a:ext>
            </a:extLst>
          </p:cNvPr>
          <p:cNvSpPr/>
          <p:nvPr userDrawn="1"/>
        </p:nvSpPr>
        <p:spPr>
          <a:xfrm>
            <a:off x="1390854" y="3130662"/>
            <a:ext cx="3106248" cy="3748831"/>
          </a:xfrm>
          <a:custGeom>
            <a:avLst/>
            <a:gdLst>
              <a:gd name="connsiteX0" fmla="*/ 0 w 3106248"/>
              <a:gd name="connsiteY0" fmla="*/ 0 h 3748831"/>
              <a:gd name="connsiteX1" fmla="*/ 3106248 w 3106248"/>
              <a:gd name="connsiteY1" fmla="*/ 3748831 h 3748831"/>
              <a:gd name="connsiteX2" fmla="*/ 0 w 3106248"/>
              <a:gd name="connsiteY2" fmla="*/ 3748831 h 3748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106248" h="3748831">
                <a:moveTo>
                  <a:pt x="0" y="0"/>
                </a:moveTo>
                <a:lnTo>
                  <a:pt x="3106248" y="3748831"/>
                </a:lnTo>
                <a:lnTo>
                  <a:pt x="0" y="3748831"/>
                </a:lnTo>
                <a:close/>
              </a:path>
            </a:pathLst>
          </a:custGeom>
          <a:solidFill>
            <a:schemeClr val="accent2">
              <a:alpha val="99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US">
              <a:solidFill>
                <a:schemeClr val="tx1"/>
              </a:solidFill>
            </a:endParaRPr>
          </a:p>
        </p:txBody>
      </p:sp>
      <p:sp>
        <p:nvSpPr>
          <p:cNvPr id="37" name="Freeform: Shape 36">
            <a:extLst>
              <a:ext uri="{FF2B5EF4-FFF2-40B4-BE49-F238E27FC236}">
                <a16:creationId xmlns:a16="http://schemas.microsoft.com/office/drawing/2014/main" id="{B27C9E57-563E-7980-7B3C-45FAD9C386F4}"/>
              </a:ext>
            </a:extLst>
          </p:cNvPr>
          <p:cNvSpPr/>
          <p:nvPr userDrawn="1"/>
        </p:nvSpPr>
        <p:spPr>
          <a:xfrm>
            <a:off x="0" y="3130661"/>
            <a:ext cx="1400640" cy="3748832"/>
          </a:xfrm>
          <a:custGeom>
            <a:avLst/>
            <a:gdLst>
              <a:gd name="connsiteX0" fmla="*/ 1400640 w 1400640"/>
              <a:gd name="connsiteY0" fmla="*/ 0 h 3748832"/>
              <a:gd name="connsiteX1" fmla="*/ 1400640 w 1400640"/>
              <a:gd name="connsiteY1" fmla="*/ 3748832 h 3748832"/>
              <a:gd name="connsiteX2" fmla="*/ 0 w 1400640"/>
              <a:gd name="connsiteY2" fmla="*/ 3748832 h 3748832"/>
              <a:gd name="connsiteX3" fmla="*/ 0 w 1400640"/>
              <a:gd name="connsiteY3" fmla="*/ 1684743 h 37488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00640" h="3748832">
                <a:moveTo>
                  <a:pt x="1400640" y="0"/>
                </a:moveTo>
                <a:lnTo>
                  <a:pt x="1400640" y="3748832"/>
                </a:lnTo>
                <a:lnTo>
                  <a:pt x="0" y="3748832"/>
                </a:lnTo>
                <a:lnTo>
                  <a:pt x="0" y="1684743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95600" y="3776472"/>
            <a:ext cx="6400800" cy="768096"/>
          </a:xfrm>
        </p:spPr>
        <p:txBody>
          <a:bodyPr anchor="t">
            <a:no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895600" y="4718304"/>
            <a:ext cx="6400800" cy="512064"/>
          </a:xfrm>
        </p:spPr>
        <p:txBody>
          <a:bodyPr lIns="0" tIns="0" rIns="0" bIns="0">
            <a:noAutofit/>
          </a:bodyPr>
          <a:lstStyle>
            <a:lvl1pPr marL="0" indent="0" algn="ctr">
              <a:spcBef>
                <a:spcPts val="0"/>
              </a:spcBef>
              <a:buNone/>
              <a:defRPr sz="2400">
                <a:solidFill>
                  <a:schemeClr val="accent6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8178944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2459EA3C-8B88-5F1F-531E-7DA7DE55710B}"/>
              </a:ext>
            </a:extLst>
          </p:cNvPr>
          <p:cNvSpPr/>
          <p:nvPr userDrawn="1"/>
        </p:nvSpPr>
        <p:spPr>
          <a:xfrm>
            <a:off x="1" y="0"/>
            <a:ext cx="2242827" cy="2102966"/>
          </a:xfrm>
          <a:custGeom>
            <a:avLst/>
            <a:gdLst>
              <a:gd name="connsiteX0" fmla="*/ 2220549 w 2242827"/>
              <a:gd name="connsiteY0" fmla="*/ 0 h 2102966"/>
              <a:gd name="connsiteX1" fmla="*/ 2242827 w 2242827"/>
              <a:gd name="connsiteY1" fmla="*/ 0 h 2102966"/>
              <a:gd name="connsiteX2" fmla="*/ 2238641 w 2242827"/>
              <a:gd name="connsiteY2" fmla="*/ 82607 h 2102966"/>
              <a:gd name="connsiteX3" fmla="*/ 1 w 2242827"/>
              <a:gd name="connsiteY3" fmla="*/ 2102966 h 2102966"/>
              <a:gd name="connsiteX4" fmla="*/ 1 w 2242827"/>
              <a:gd name="connsiteY4" fmla="*/ 2080690 h 2102966"/>
              <a:gd name="connsiteX5" fmla="*/ 2216479 w 2242827"/>
              <a:gd name="connsiteY5" fmla="*/ 80336 h 2102966"/>
              <a:gd name="connsiteX6" fmla="*/ 2098030 w 2242827"/>
              <a:gd name="connsiteY6" fmla="*/ 0 h 2102966"/>
              <a:gd name="connsiteX7" fmla="*/ 2120412 w 2242827"/>
              <a:gd name="connsiteY7" fmla="*/ 0 h 2102966"/>
              <a:gd name="connsiteX8" fmla="*/ 2116859 w 2242827"/>
              <a:gd name="connsiteY8" fmla="*/ 70117 h 2102966"/>
              <a:gd name="connsiteX9" fmla="*/ 1 w 2242827"/>
              <a:gd name="connsiteY9" fmla="*/ 1980571 h 2102966"/>
              <a:gd name="connsiteX10" fmla="*/ 1 w 2242827"/>
              <a:gd name="connsiteY10" fmla="*/ 1958295 h 2102966"/>
              <a:gd name="connsiteX11" fmla="*/ 2094588 w 2242827"/>
              <a:gd name="connsiteY11" fmla="*/ 67938 h 2102966"/>
              <a:gd name="connsiteX12" fmla="*/ 1975608 w 2242827"/>
              <a:gd name="connsiteY12" fmla="*/ 0 h 2102966"/>
              <a:gd name="connsiteX13" fmla="*/ 1997887 w 2242827"/>
              <a:gd name="connsiteY13" fmla="*/ 0 h 2102966"/>
              <a:gd name="connsiteX14" fmla="*/ 1994968 w 2242827"/>
              <a:gd name="connsiteY14" fmla="*/ 57611 h 2102966"/>
              <a:gd name="connsiteX15" fmla="*/ 1 w 2242827"/>
              <a:gd name="connsiteY15" fmla="*/ 1858047 h 2102966"/>
              <a:gd name="connsiteX16" fmla="*/ 1 w 2242827"/>
              <a:gd name="connsiteY16" fmla="*/ 1835771 h 2102966"/>
              <a:gd name="connsiteX17" fmla="*/ 1972805 w 2242827"/>
              <a:gd name="connsiteY17" fmla="*/ 55322 h 2102966"/>
              <a:gd name="connsiteX18" fmla="*/ 1853193 w 2242827"/>
              <a:gd name="connsiteY18" fmla="*/ 0 h 2102966"/>
              <a:gd name="connsiteX19" fmla="*/ 1875472 w 2242827"/>
              <a:gd name="connsiteY19" fmla="*/ 0 h 2102966"/>
              <a:gd name="connsiteX20" fmla="*/ 1873186 w 2242827"/>
              <a:gd name="connsiteY20" fmla="*/ 45119 h 2102966"/>
              <a:gd name="connsiteX21" fmla="*/ 0 w 2242827"/>
              <a:gd name="connsiteY21" fmla="*/ 1735650 h 2102966"/>
              <a:gd name="connsiteX22" fmla="*/ 0 w 2242827"/>
              <a:gd name="connsiteY22" fmla="*/ 1713374 h 2102966"/>
              <a:gd name="connsiteX23" fmla="*/ 1851022 w 2242827"/>
              <a:gd name="connsiteY23" fmla="*/ 42848 h 2102966"/>
              <a:gd name="connsiteX24" fmla="*/ 1730668 w 2242827"/>
              <a:gd name="connsiteY24" fmla="*/ 0 h 2102966"/>
              <a:gd name="connsiteX25" fmla="*/ 1753056 w 2242827"/>
              <a:gd name="connsiteY25" fmla="*/ 0 h 2102966"/>
              <a:gd name="connsiteX26" fmla="*/ 1751404 w 2242827"/>
              <a:gd name="connsiteY26" fmla="*/ 32610 h 2102966"/>
              <a:gd name="connsiteX27" fmla="*/ 0 w 2242827"/>
              <a:gd name="connsiteY27" fmla="*/ 1613232 h 2102966"/>
              <a:gd name="connsiteX28" fmla="*/ 0 w 2242827"/>
              <a:gd name="connsiteY28" fmla="*/ 1590961 h 2102966"/>
              <a:gd name="connsiteX29" fmla="*/ 1729127 w 2242827"/>
              <a:gd name="connsiteY29" fmla="*/ 30432 h 2102966"/>
              <a:gd name="connsiteX30" fmla="*/ 1608247 w 2242827"/>
              <a:gd name="connsiteY30" fmla="*/ 0 h 2102966"/>
              <a:gd name="connsiteX31" fmla="*/ 1630525 w 2242827"/>
              <a:gd name="connsiteY31" fmla="*/ 0 h 2102966"/>
              <a:gd name="connsiteX32" fmla="*/ 1629507 w 2242827"/>
              <a:gd name="connsiteY32" fmla="*/ 20086 h 2102966"/>
              <a:gd name="connsiteX33" fmla="*/ 0 w 2242827"/>
              <a:gd name="connsiteY33" fmla="*/ 1490712 h 2102966"/>
              <a:gd name="connsiteX34" fmla="*/ 0 w 2242827"/>
              <a:gd name="connsiteY34" fmla="*/ 1468436 h 2102966"/>
              <a:gd name="connsiteX35" fmla="*/ 1607345 w 2242827"/>
              <a:gd name="connsiteY35" fmla="*/ 17816 h 2102966"/>
              <a:gd name="connsiteX36" fmla="*/ 1485833 w 2242827"/>
              <a:gd name="connsiteY36" fmla="*/ 0 h 2102966"/>
              <a:gd name="connsiteX37" fmla="*/ 1508109 w 2242827"/>
              <a:gd name="connsiteY37" fmla="*/ 0 h 2102966"/>
              <a:gd name="connsiteX38" fmla="*/ 1507724 w 2242827"/>
              <a:gd name="connsiteY38" fmla="*/ 7596 h 2102966"/>
              <a:gd name="connsiteX39" fmla="*/ 0 w 2242827"/>
              <a:gd name="connsiteY39" fmla="*/ 1368317 h 2102966"/>
              <a:gd name="connsiteX40" fmla="*/ 0 w 2242827"/>
              <a:gd name="connsiteY40" fmla="*/ 1346041 h 2102966"/>
              <a:gd name="connsiteX41" fmla="*/ 1485563 w 2242827"/>
              <a:gd name="connsiteY41" fmla="*/ 5325 h 2102966"/>
              <a:gd name="connsiteX42" fmla="*/ 1362591 w 2242827"/>
              <a:gd name="connsiteY42" fmla="*/ 0 h 2102966"/>
              <a:gd name="connsiteX43" fmla="*/ 1385194 w 2242827"/>
              <a:gd name="connsiteY43" fmla="*/ 0 h 2102966"/>
              <a:gd name="connsiteX44" fmla="*/ 1364797 w 2242827"/>
              <a:gd name="connsiteY44" fmla="*/ 133264 h 2102966"/>
              <a:gd name="connsiteX45" fmla="*/ 0 w 2242827"/>
              <a:gd name="connsiteY45" fmla="*/ 1245917 h 2102966"/>
              <a:gd name="connsiteX46" fmla="*/ 0 w 2242827"/>
              <a:gd name="connsiteY46" fmla="*/ 1223641 h 2102966"/>
              <a:gd name="connsiteX47" fmla="*/ 1342864 w 2242827"/>
              <a:gd name="connsiteY47" fmla="*/ 128894 h 2102966"/>
              <a:gd name="connsiteX48" fmla="*/ 1238878 w 2242827"/>
              <a:gd name="connsiteY48" fmla="*/ 0 h 2102966"/>
              <a:gd name="connsiteX49" fmla="*/ 1261388 w 2242827"/>
              <a:gd name="connsiteY49" fmla="*/ 0 h 2102966"/>
              <a:gd name="connsiteX50" fmla="*/ 1244763 w 2242827"/>
              <a:gd name="connsiteY50" fmla="*/ 108614 h 2102966"/>
              <a:gd name="connsiteX51" fmla="*/ 0 w 2242827"/>
              <a:gd name="connsiteY51" fmla="*/ 1123397 h 2102966"/>
              <a:gd name="connsiteX52" fmla="*/ 0 w 2242827"/>
              <a:gd name="connsiteY52" fmla="*/ 1101121 h 2102966"/>
              <a:gd name="connsiteX53" fmla="*/ 1222940 w 2242827"/>
              <a:gd name="connsiteY53" fmla="*/ 104135 h 2102966"/>
              <a:gd name="connsiteX54" fmla="*/ 1115178 w 2242827"/>
              <a:gd name="connsiteY54" fmla="*/ 0 h 2102966"/>
              <a:gd name="connsiteX55" fmla="*/ 1137688 w 2242827"/>
              <a:gd name="connsiteY55" fmla="*/ 0 h 2102966"/>
              <a:gd name="connsiteX56" fmla="*/ 1124836 w 2242827"/>
              <a:gd name="connsiteY56" fmla="*/ 83962 h 2102966"/>
              <a:gd name="connsiteX57" fmla="*/ 0 w 2242827"/>
              <a:gd name="connsiteY57" fmla="*/ 1000978 h 2102966"/>
              <a:gd name="connsiteX58" fmla="*/ 0 w 2242827"/>
              <a:gd name="connsiteY58" fmla="*/ 978703 h 2102966"/>
              <a:gd name="connsiteX59" fmla="*/ 1103012 w 2242827"/>
              <a:gd name="connsiteY59" fmla="*/ 79485 h 2102966"/>
              <a:gd name="connsiteX60" fmla="*/ 991375 w 2242827"/>
              <a:gd name="connsiteY60" fmla="*/ 0 h 2102966"/>
              <a:gd name="connsiteX61" fmla="*/ 1013997 w 2242827"/>
              <a:gd name="connsiteY61" fmla="*/ 0 h 2102966"/>
              <a:gd name="connsiteX62" fmla="*/ 1004915 w 2242827"/>
              <a:gd name="connsiteY62" fmla="*/ 59331 h 2102966"/>
              <a:gd name="connsiteX63" fmla="*/ 0 w 2242827"/>
              <a:gd name="connsiteY63" fmla="*/ 878583 h 2102966"/>
              <a:gd name="connsiteX64" fmla="*/ 0 w 2242827"/>
              <a:gd name="connsiteY64" fmla="*/ 856307 h 2102966"/>
              <a:gd name="connsiteX65" fmla="*/ 982981 w 2242827"/>
              <a:gd name="connsiteY65" fmla="*/ 54853 h 2102966"/>
              <a:gd name="connsiteX66" fmla="*/ 866108 w 2242827"/>
              <a:gd name="connsiteY66" fmla="*/ 0 h 2102966"/>
              <a:gd name="connsiteX67" fmla="*/ 888384 w 2242827"/>
              <a:gd name="connsiteY67" fmla="*/ 0 h 2102966"/>
              <a:gd name="connsiteX68" fmla="*/ 884876 w 2242827"/>
              <a:gd name="connsiteY68" fmla="*/ 34680 h 2102966"/>
              <a:gd name="connsiteX69" fmla="*/ 0 w 2242827"/>
              <a:gd name="connsiteY69" fmla="*/ 756058 h 2102966"/>
              <a:gd name="connsiteX70" fmla="*/ 0 w 2242827"/>
              <a:gd name="connsiteY70" fmla="*/ 733782 h 2102966"/>
              <a:gd name="connsiteX71" fmla="*/ 863057 w 2242827"/>
              <a:gd name="connsiteY71" fmla="*/ 30169 h 2102966"/>
              <a:gd name="connsiteX72" fmla="*/ 743692 w 2242827"/>
              <a:gd name="connsiteY72" fmla="*/ 0 h 2102966"/>
              <a:gd name="connsiteX73" fmla="*/ 765973 w 2242827"/>
              <a:gd name="connsiteY73" fmla="*/ 0 h 2102966"/>
              <a:gd name="connsiteX74" fmla="*/ 764957 w 2242827"/>
              <a:gd name="connsiteY74" fmla="*/ 10048 h 2102966"/>
              <a:gd name="connsiteX75" fmla="*/ 0 w 2242827"/>
              <a:gd name="connsiteY75" fmla="*/ 633662 h 2102966"/>
              <a:gd name="connsiteX76" fmla="*/ 0 w 2242827"/>
              <a:gd name="connsiteY76" fmla="*/ 611386 h 2102966"/>
              <a:gd name="connsiteX77" fmla="*/ 743129 w 2242827"/>
              <a:gd name="connsiteY77" fmla="*/ 5570 h 2102966"/>
              <a:gd name="connsiteX78" fmla="*/ 617163 w 2242827"/>
              <a:gd name="connsiteY78" fmla="*/ 0 h 2102966"/>
              <a:gd name="connsiteX79" fmla="*/ 640489 w 2242827"/>
              <a:gd name="connsiteY79" fmla="*/ 0 h 2102966"/>
              <a:gd name="connsiteX80" fmla="*/ 606611 w 2242827"/>
              <a:gd name="connsiteY80" fmla="*/ 108906 h 2102966"/>
              <a:gd name="connsiteX81" fmla="*/ 0 w 2242827"/>
              <a:gd name="connsiteY81" fmla="*/ 511248 h 2102966"/>
              <a:gd name="connsiteX82" fmla="*/ 0 w 2242827"/>
              <a:gd name="connsiteY82" fmla="*/ 488972 h 2102966"/>
              <a:gd name="connsiteX83" fmla="*/ 585980 w 2242827"/>
              <a:gd name="connsiteY83" fmla="*/ 100252 h 2102966"/>
              <a:gd name="connsiteX84" fmla="*/ 489561 w 2242827"/>
              <a:gd name="connsiteY84" fmla="*/ 0 h 2102966"/>
              <a:gd name="connsiteX85" fmla="*/ 512789 w 2242827"/>
              <a:gd name="connsiteY85" fmla="*/ 0 h 2102966"/>
              <a:gd name="connsiteX86" fmla="*/ 493721 w 2242827"/>
              <a:gd name="connsiteY86" fmla="*/ 61289 h 2102966"/>
              <a:gd name="connsiteX87" fmla="*/ 0 w 2242827"/>
              <a:gd name="connsiteY87" fmla="*/ 388735 h 2102966"/>
              <a:gd name="connsiteX88" fmla="*/ 0 w 2242827"/>
              <a:gd name="connsiteY88" fmla="*/ 366459 h 2102966"/>
              <a:gd name="connsiteX89" fmla="*/ 473199 w 2242827"/>
              <a:gd name="connsiteY89" fmla="*/ 52587 h 2102966"/>
              <a:gd name="connsiteX90" fmla="*/ 361966 w 2242827"/>
              <a:gd name="connsiteY90" fmla="*/ 0 h 2102966"/>
              <a:gd name="connsiteX91" fmla="*/ 385181 w 2242827"/>
              <a:gd name="connsiteY91" fmla="*/ 0 h 2102966"/>
              <a:gd name="connsiteX92" fmla="*/ 380937 w 2242827"/>
              <a:gd name="connsiteY92" fmla="*/ 13636 h 2102966"/>
              <a:gd name="connsiteX93" fmla="*/ 0 w 2242827"/>
              <a:gd name="connsiteY93" fmla="*/ 266328 h 2102966"/>
              <a:gd name="connsiteX94" fmla="*/ 0 w 2242827"/>
              <a:gd name="connsiteY94" fmla="*/ 244052 h 2102966"/>
              <a:gd name="connsiteX95" fmla="*/ 360416 w 2242827"/>
              <a:gd name="connsiteY95" fmla="*/ 4982 h 2102966"/>
              <a:gd name="connsiteX96" fmla="*/ 218905 w 2242827"/>
              <a:gd name="connsiteY96" fmla="*/ 0 h 2102966"/>
              <a:gd name="connsiteX97" fmla="*/ 249720 w 2242827"/>
              <a:gd name="connsiteY97" fmla="*/ 0 h 2102966"/>
              <a:gd name="connsiteX98" fmla="*/ 241311 w 2242827"/>
              <a:gd name="connsiteY98" fmla="*/ 15475 h 2102966"/>
              <a:gd name="connsiteX99" fmla="*/ 0 w 2242827"/>
              <a:gd name="connsiteY99" fmla="*/ 143932 h 2102966"/>
              <a:gd name="connsiteX100" fmla="*/ 0 w 2242827"/>
              <a:gd name="connsiteY100" fmla="*/ 121656 h 2102966"/>
              <a:gd name="connsiteX101" fmla="*/ 189966 w 2242827"/>
              <a:gd name="connsiteY101" fmla="*/ 42875 h 21029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</a:cxnLst>
            <a:rect l="l" t="t" r="r" b="b"/>
            <a:pathLst>
              <a:path w="2242827" h="2102966">
                <a:moveTo>
                  <a:pt x="2220549" y="0"/>
                </a:moveTo>
                <a:lnTo>
                  <a:pt x="2242827" y="0"/>
                </a:lnTo>
                <a:lnTo>
                  <a:pt x="2238641" y="82607"/>
                </a:lnTo>
                <a:cubicBezTo>
                  <a:pt x="2123193" y="1215807"/>
                  <a:pt x="1163255" y="2102966"/>
                  <a:pt x="1" y="2102966"/>
                </a:cubicBezTo>
                <a:lnTo>
                  <a:pt x="1" y="2080690"/>
                </a:lnTo>
                <a:cubicBezTo>
                  <a:pt x="1151759" y="2080690"/>
                  <a:pt x="2102176" y="1202330"/>
                  <a:pt x="2216479" y="80336"/>
                </a:cubicBezTo>
                <a:close/>
                <a:moveTo>
                  <a:pt x="2098030" y="0"/>
                </a:moveTo>
                <a:lnTo>
                  <a:pt x="2120412" y="0"/>
                </a:lnTo>
                <a:lnTo>
                  <a:pt x="2116859" y="70117"/>
                </a:lnTo>
                <a:cubicBezTo>
                  <a:pt x="2007691" y="1141666"/>
                  <a:pt x="1099966" y="1980571"/>
                  <a:pt x="1" y="1980571"/>
                </a:cubicBezTo>
                <a:lnTo>
                  <a:pt x="1" y="1958295"/>
                </a:lnTo>
                <a:cubicBezTo>
                  <a:pt x="1088470" y="1958295"/>
                  <a:pt x="1986577" y="1128187"/>
                  <a:pt x="2094588" y="67938"/>
                </a:cubicBezTo>
                <a:close/>
                <a:moveTo>
                  <a:pt x="1975608" y="0"/>
                </a:moveTo>
                <a:lnTo>
                  <a:pt x="1997887" y="0"/>
                </a:lnTo>
                <a:lnTo>
                  <a:pt x="1994968" y="57611"/>
                </a:lnTo>
                <a:cubicBezTo>
                  <a:pt x="1892090" y="1067493"/>
                  <a:pt x="1036676" y="1858047"/>
                  <a:pt x="1" y="1858047"/>
                </a:cubicBezTo>
                <a:lnTo>
                  <a:pt x="1" y="1835771"/>
                </a:lnTo>
                <a:cubicBezTo>
                  <a:pt x="1025181" y="1835771"/>
                  <a:pt x="1871073" y="1053919"/>
                  <a:pt x="1972805" y="55322"/>
                </a:cubicBezTo>
                <a:close/>
                <a:moveTo>
                  <a:pt x="1853193" y="0"/>
                </a:moveTo>
                <a:lnTo>
                  <a:pt x="1875472" y="0"/>
                </a:lnTo>
                <a:lnTo>
                  <a:pt x="1873186" y="45119"/>
                </a:lnTo>
                <a:cubicBezTo>
                  <a:pt x="1776588" y="993350"/>
                  <a:pt x="973388" y="1735650"/>
                  <a:pt x="0" y="1735650"/>
                </a:cubicBezTo>
                <a:lnTo>
                  <a:pt x="0" y="1713374"/>
                </a:lnTo>
                <a:cubicBezTo>
                  <a:pt x="961784" y="1713374"/>
                  <a:pt x="1755557" y="979877"/>
                  <a:pt x="1851022" y="42848"/>
                </a:cubicBezTo>
                <a:close/>
                <a:moveTo>
                  <a:pt x="1730668" y="0"/>
                </a:moveTo>
                <a:lnTo>
                  <a:pt x="1753056" y="0"/>
                </a:lnTo>
                <a:lnTo>
                  <a:pt x="1751404" y="32610"/>
                </a:lnTo>
                <a:cubicBezTo>
                  <a:pt x="1661086" y="919190"/>
                  <a:pt x="910098" y="1613232"/>
                  <a:pt x="0" y="1613232"/>
                </a:cubicBezTo>
                <a:lnTo>
                  <a:pt x="0" y="1590961"/>
                </a:lnTo>
                <a:cubicBezTo>
                  <a:pt x="898495" y="1590961"/>
                  <a:pt x="1639954" y="905712"/>
                  <a:pt x="1729127" y="30432"/>
                </a:cubicBezTo>
                <a:close/>
                <a:moveTo>
                  <a:pt x="1608247" y="0"/>
                </a:moveTo>
                <a:lnTo>
                  <a:pt x="1630525" y="0"/>
                </a:lnTo>
                <a:lnTo>
                  <a:pt x="1629507" y="20086"/>
                </a:lnTo>
                <a:cubicBezTo>
                  <a:pt x="1545469" y="844919"/>
                  <a:pt x="846701" y="1490712"/>
                  <a:pt x="0" y="1490712"/>
                </a:cubicBezTo>
                <a:lnTo>
                  <a:pt x="0" y="1468436"/>
                </a:lnTo>
                <a:cubicBezTo>
                  <a:pt x="835206" y="1468436"/>
                  <a:pt x="1524451" y="831445"/>
                  <a:pt x="1607345" y="17816"/>
                </a:cubicBezTo>
                <a:close/>
                <a:moveTo>
                  <a:pt x="1485833" y="0"/>
                </a:moveTo>
                <a:lnTo>
                  <a:pt x="1508109" y="0"/>
                </a:lnTo>
                <a:lnTo>
                  <a:pt x="1507724" y="7596"/>
                </a:lnTo>
                <a:cubicBezTo>
                  <a:pt x="1429966" y="770778"/>
                  <a:pt x="783416" y="1368317"/>
                  <a:pt x="0" y="1368317"/>
                </a:cubicBezTo>
                <a:lnTo>
                  <a:pt x="0" y="1346041"/>
                </a:lnTo>
                <a:cubicBezTo>
                  <a:pt x="771917" y="1346041"/>
                  <a:pt x="1408949" y="757304"/>
                  <a:pt x="1485563" y="5325"/>
                </a:cubicBezTo>
                <a:close/>
                <a:moveTo>
                  <a:pt x="1362591" y="0"/>
                </a:moveTo>
                <a:lnTo>
                  <a:pt x="1385194" y="0"/>
                </a:lnTo>
                <a:lnTo>
                  <a:pt x="1364797" y="133264"/>
                </a:lnTo>
                <a:cubicBezTo>
                  <a:pt x="1234684" y="767432"/>
                  <a:pt x="672215" y="1245917"/>
                  <a:pt x="0" y="1245917"/>
                </a:cubicBezTo>
                <a:lnTo>
                  <a:pt x="0" y="1223641"/>
                </a:lnTo>
                <a:cubicBezTo>
                  <a:pt x="661385" y="1223641"/>
                  <a:pt x="1214835" y="752908"/>
                  <a:pt x="1342864" y="128894"/>
                </a:cubicBezTo>
                <a:close/>
                <a:moveTo>
                  <a:pt x="1238878" y="0"/>
                </a:moveTo>
                <a:lnTo>
                  <a:pt x="1261388" y="0"/>
                </a:lnTo>
                <a:lnTo>
                  <a:pt x="1244763" y="108614"/>
                </a:lnTo>
                <a:cubicBezTo>
                  <a:pt x="1126083" y="687031"/>
                  <a:pt x="613049" y="1123397"/>
                  <a:pt x="0" y="1123397"/>
                </a:cubicBezTo>
                <a:lnTo>
                  <a:pt x="0" y="1101121"/>
                </a:lnTo>
                <a:cubicBezTo>
                  <a:pt x="602316" y="1101121"/>
                  <a:pt x="1106344" y="672419"/>
                  <a:pt x="1222940" y="104135"/>
                </a:cubicBezTo>
                <a:close/>
                <a:moveTo>
                  <a:pt x="1115178" y="0"/>
                </a:moveTo>
                <a:lnTo>
                  <a:pt x="1137688" y="0"/>
                </a:lnTo>
                <a:lnTo>
                  <a:pt x="1124836" y="83962"/>
                </a:lnTo>
                <a:cubicBezTo>
                  <a:pt x="1017592" y="606647"/>
                  <a:pt x="553979" y="1000978"/>
                  <a:pt x="0" y="1000978"/>
                </a:cubicBezTo>
                <a:lnTo>
                  <a:pt x="0" y="978703"/>
                </a:lnTo>
                <a:cubicBezTo>
                  <a:pt x="543246" y="978703"/>
                  <a:pt x="997852" y="592039"/>
                  <a:pt x="1103012" y="79485"/>
                </a:cubicBezTo>
                <a:close/>
                <a:moveTo>
                  <a:pt x="991375" y="0"/>
                </a:moveTo>
                <a:lnTo>
                  <a:pt x="1013997" y="0"/>
                </a:lnTo>
                <a:lnTo>
                  <a:pt x="1004915" y="59331"/>
                </a:lnTo>
                <a:cubicBezTo>
                  <a:pt x="909100" y="526286"/>
                  <a:pt x="494909" y="878583"/>
                  <a:pt x="0" y="878583"/>
                </a:cubicBezTo>
                <a:lnTo>
                  <a:pt x="0" y="856307"/>
                </a:lnTo>
                <a:cubicBezTo>
                  <a:pt x="484176" y="856307"/>
                  <a:pt x="889272" y="511676"/>
                  <a:pt x="982981" y="54853"/>
                </a:cubicBezTo>
                <a:close/>
                <a:moveTo>
                  <a:pt x="866108" y="0"/>
                </a:moveTo>
                <a:lnTo>
                  <a:pt x="888384" y="0"/>
                </a:lnTo>
                <a:lnTo>
                  <a:pt x="884876" y="34680"/>
                </a:lnTo>
                <a:cubicBezTo>
                  <a:pt x="800495" y="445883"/>
                  <a:pt x="435739" y="756058"/>
                  <a:pt x="0" y="756058"/>
                </a:cubicBezTo>
                <a:lnTo>
                  <a:pt x="0" y="733782"/>
                </a:lnTo>
                <a:cubicBezTo>
                  <a:pt x="425107" y="733782"/>
                  <a:pt x="780781" y="431187"/>
                  <a:pt x="863057" y="30169"/>
                </a:cubicBezTo>
                <a:close/>
                <a:moveTo>
                  <a:pt x="743692" y="0"/>
                </a:moveTo>
                <a:lnTo>
                  <a:pt x="765973" y="0"/>
                </a:lnTo>
                <a:lnTo>
                  <a:pt x="764957" y="10048"/>
                </a:lnTo>
                <a:cubicBezTo>
                  <a:pt x="692029" y="365521"/>
                  <a:pt x="376767" y="633662"/>
                  <a:pt x="0" y="633662"/>
                </a:cubicBezTo>
                <a:lnTo>
                  <a:pt x="0" y="611386"/>
                </a:lnTo>
                <a:cubicBezTo>
                  <a:pt x="365938" y="611386"/>
                  <a:pt x="672265" y="350911"/>
                  <a:pt x="743129" y="5570"/>
                </a:cubicBezTo>
                <a:close/>
                <a:moveTo>
                  <a:pt x="617163" y="0"/>
                </a:moveTo>
                <a:lnTo>
                  <a:pt x="640489" y="0"/>
                </a:lnTo>
                <a:lnTo>
                  <a:pt x="606611" y="108906"/>
                </a:lnTo>
                <a:cubicBezTo>
                  <a:pt x="506524" y="345128"/>
                  <a:pt x="272312" y="511248"/>
                  <a:pt x="0" y="511248"/>
                </a:cubicBezTo>
                <a:lnTo>
                  <a:pt x="0" y="488972"/>
                </a:lnTo>
                <a:cubicBezTo>
                  <a:pt x="263030" y="488972"/>
                  <a:pt x="489290" y="328485"/>
                  <a:pt x="585980" y="100252"/>
                </a:cubicBezTo>
                <a:close/>
                <a:moveTo>
                  <a:pt x="489561" y="0"/>
                </a:moveTo>
                <a:lnTo>
                  <a:pt x="512789" y="0"/>
                </a:lnTo>
                <a:lnTo>
                  <a:pt x="493721" y="61289"/>
                </a:lnTo>
                <a:cubicBezTo>
                  <a:pt x="412246" y="253561"/>
                  <a:pt x="221597" y="388735"/>
                  <a:pt x="0" y="388735"/>
                </a:cubicBezTo>
                <a:lnTo>
                  <a:pt x="0" y="366459"/>
                </a:lnTo>
                <a:cubicBezTo>
                  <a:pt x="212399" y="366459"/>
                  <a:pt x="395116" y="236854"/>
                  <a:pt x="473199" y="52587"/>
                </a:cubicBezTo>
                <a:close/>
                <a:moveTo>
                  <a:pt x="361966" y="0"/>
                </a:moveTo>
                <a:lnTo>
                  <a:pt x="385181" y="0"/>
                </a:lnTo>
                <a:lnTo>
                  <a:pt x="380937" y="13636"/>
                </a:lnTo>
                <a:cubicBezTo>
                  <a:pt x="318070" y="161973"/>
                  <a:pt x="170965" y="266328"/>
                  <a:pt x="0" y="266328"/>
                </a:cubicBezTo>
                <a:lnTo>
                  <a:pt x="0" y="244052"/>
                </a:lnTo>
                <a:cubicBezTo>
                  <a:pt x="161767" y="244052"/>
                  <a:pt x="300940" y="145329"/>
                  <a:pt x="360416" y="4982"/>
                </a:cubicBezTo>
                <a:close/>
                <a:moveTo>
                  <a:pt x="218905" y="0"/>
                </a:moveTo>
                <a:lnTo>
                  <a:pt x="249720" y="0"/>
                </a:lnTo>
                <a:lnTo>
                  <a:pt x="241311" y="15475"/>
                </a:lnTo>
                <a:cubicBezTo>
                  <a:pt x="188962" y="92909"/>
                  <a:pt x="100349" y="143932"/>
                  <a:pt x="0" y="143932"/>
                </a:cubicBezTo>
                <a:lnTo>
                  <a:pt x="0" y="121656"/>
                </a:lnTo>
                <a:cubicBezTo>
                  <a:pt x="74091" y="121656"/>
                  <a:pt x="141290" y="91533"/>
                  <a:pt x="189966" y="42875"/>
                </a:cubicBezTo>
                <a:close/>
              </a:path>
            </a:pathLst>
          </a:custGeom>
          <a:solidFill>
            <a:schemeClr val="accent3">
              <a:lumMod val="20000"/>
              <a:lumOff val="80000"/>
            </a:schemeClr>
          </a:solidFill>
          <a:ln w="4588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9496" y="2103120"/>
            <a:ext cx="11119104" cy="4434840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r>
              <a:rPr lang="en-US"/>
              <a:t>Presentation tit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8042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B0C0F070-237F-C60F-3458-4D4D9BA0A222}"/>
              </a:ext>
            </a:extLst>
          </p:cNvPr>
          <p:cNvSpPr/>
          <p:nvPr userDrawn="1"/>
        </p:nvSpPr>
        <p:spPr>
          <a:xfrm>
            <a:off x="9866106" y="0"/>
            <a:ext cx="2325894" cy="2180854"/>
          </a:xfrm>
          <a:custGeom>
            <a:avLst/>
            <a:gdLst>
              <a:gd name="connsiteX0" fmla="*/ 2066927 w 2325894"/>
              <a:gd name="connsiteY0" fmla="*/ 0 h 2180854"/>
              <a:gd name="connsiteX1" fmla="*/ 2098882 w 2325894"/>
              <a:gd name="connsiteY1" fmla="*/ 0 h 2180854"/>
              <a:gd name="connsiteX2" fmla="*/ 2128893 w 2325894"/>
              <a:gd name="connsiteY2" fmla="*/ 44463 h 2180854"/>
              <a:gd name="connsiteX3" fmla="*/ 2269798 w 2325894"/>
              <a:gd name="connsiteY3" fmla="*/ 120493 h 2180854"/>
              <a:gd name="connsiteX4" fmla="*/ 2325894 w 2325894"/>
              <a:gd name="connsiteY4" fmla="*/ 126162 h 2180854"/>
              <a:gd name="connsiteX5" fmla="*/ 2325894 w 2325894"/>
              <a:gd name="connsiteY5" fmla="*/ 149263 h 2180854"/>
              <a:gd name="connsiteX6" fmla="*/ 2265120 w 2325894"/>
              <a:gd name="connsiteY6" fmla="*/ 143117 h 2180854"/>
              <a:gd name="connsiteX7" fmla="*/ 2075647 w 2325894"/>
              <a:gd name="connsiteY7" fmla="*/ 16048 h 2180854"/>
              <a:gd name="connsiteX8" fmla="*/ 1926448 w 2325894"/>
              <a:gd name="connsiteY8" fmla="*/ 0 h 2180854"/>
              <a:gd name="connsiteX9" fmla="*/ 1950522 w 2325894"/>
              <a:gd name="connsiteY9" fmla="*/ 0 h 2180854"/>
              <a:gd name="connsiteX10" fmla="*/ 1952130 w 2325894"/>
              <a:gd name="connsiteY10" fmla="*/ 5167 h 2180854"/>
              <a:gd name="connsiteX11" fmla="*/ 2244242 w 2325894"/>
              <a:gd name="connsiteY11" fmla="*/ 244834 h 2180854"/>
              <a:gd name="connsiteX12" fmla="*/ 2325894 w 2325894"/>
              <a:gd name="connsiteY12" fmla="*/ 253091 h 2180854"/>
              <a:gd name="connsiteX13" fmla="*/ 2325894 w 2325894"/>
              <a:gd name="connsiteY13" fmla="*/ 276192 h 2180854"/>
              <a:gd name="connsiteX14" fmla="*/ 2239598 w 2325894"/>
              <a:gd name="connsiteY14" fmla="*/ 267464 h 2180854"/>
              <a:gd name="connsiteX15" fmla="*/ 1930848 w 2325894"/>
              <a:gd name="connsiteY15" fmla="*/ 14141 h 2180854"/>
              <a:gd name="connsiteX16" fmla="*/ 1794114 w 2325894"/>
              <a:gd name="connsiteY16" fmla="*/ 0 h 2180854"/>
              <a:gd name="connsiteX17" fmla="*/ 1818202 w 2325894"/>
              <a:gd name="connsiteY17" fmla="*/ 0 h 2180854"/>
              <a:gd name="connsiteX18" fmla="*/ 1835170 w 2325894"/>
              <a:gd name="connsiteY18" fmla="*/ 54535 h 2180854"/>
              <a:gd name="connsiteX19" fmla="*/ 2218687 w 2325894"/>
              <a:gd name="connsiteY19" fmla="*/ 369191 h 2180854"/>
              <a:gd name="connsiteX20" fmla="*/ 2325894 w 2325894"/>
              <a:gd name="connsiteY20" fmla="*/ 380032 h 2180854"/>
              <a:gd name="connsiteX21" fmla="*/ 2325894 w 2325894"/>
              <a:gd name="connsiteY21" fmla="*/ 403132 h 2180854"/>
              <a:gd name="connsiteX22" fmla="*/ 2214043 w 2325894"/>
              <a:gd name="connsiteY22" fmla="*/ 391825 h 2180854"/>
              <a:gd name="connsiteX23" fmla="*/ 1813889 w 2325894"/>
              <a:gd name="connsiteY23" fmla="*/ 63559 h 2180854"/>
              <a:gd name="connsiteX24" fmla="*/ 1661683 w 2325894"/>
              <a:gd name="connsiteY24" fmla="*/ 0 h 2180854"/>
              <a:gd name="connsiteX25" fmla="*/ 1685874 w 2325894"/>
              <a:gd name="connsiteY25" fmla="*/ 0 h 2180854"/>
              <a:gd name="connsiteX26" fmla="*/ 1718212 w 2325894"/>
              <a:gd name="connsiteY26" fmla="*/ 103965 h 2180854"/>
              <a:gd name="connsiteX27" fmla="*/ 2193133 w 2325894"/>
              <a:gd name="connsiteY27" fmla="*/ 493659 h 2180854"/>
              <a:gd name="connsiteX28" fmla="*/ 2325894 w 2325894"/>
              <a:gd name="connsiteY28" fmla="*/ 507083 h 2180854"/>
              <a:gd name="connsiteX29" fmla="*/ 2325894 w 2325894"/>
              <a:gd name="connsiteY29" fmla="*/ 530183 h 2180854"/>
              <a:gd name="connsiteX30" fmla="*/ 2188450 w 2325894"/>
              <a:gd name="connsiteY30" fmla="*/ 516288 h 2180854"/>
              <a:gd name="connsiteX31" fmla="*/ 1696817 w 2325894"/>
              <a:gd name="connsiteY31" fmla="*/ 112939 h 2180854"/>
              <a:gd name="connsiteX32" fmla="*/ 1531553 w 2325894"/>
              <a:gd name="connsiteY32" fmla="*/ 0 h 2180854"/>
              <a:gd name="connsiteX33" fmla="*/ 1554659 w 2325894"/>
              <a:gd name="connsiteY33" fmla="*/ 0 h 2180854"/>
              <a:gd name="connsiteX34" fmla="*/ 1555243 w 2325894"/>
              <a:gd name="connsiteY34" fmla="*/ 5776 h 2180854"/>
              <a:gd name="connsiteX35" fmla="*/ 2245588 w 2325894"/>
              <a:gd name="connsiteY35" fmla="*/ 629962 h 2180854"/>
              <a:gd name="connsiteX36" fmla="*/ 2325894 w 2325894"/>
              <a:gd name="connsiteY36" fmla="*/ 634030 h 2180854"/>
              <a:gd name="connsiteX37" fmla="*/ 2325894 w 2325894"/>
              <a:gd name="connsiteY37" fmla="*/ 657131 h 2180854"/>
              <a:gd name="connsiteX38" fmla="*/ 2243214 w 2325894"/>
              <a:gd name="connsiteY38" fmla="*/ 652943 h 2180854"/>
              <a:gd name="connsiteX39" fmla="*/ 1532607 w 2325894"/>
              <a:gd name="connsiteY39" fmla="*/ 10419 h 2180854"/>
              <a:gd name="connsiteX40" fmla="*/ 1404609 w 2325894"/>
              <a:gd name="connsiteY40" fmla="*/ 0 h 2180854"/>
              <a:gd name="connsiteX41" fmla="*/ 1427709 w 2325894"/>
              <a:gd name="connsiteY41" fmla="*/ 0 h 2180854"/>
              <a:gd name="connsiteX42" fmla="*/ 1430873 w 2325894"/>
              <a:gd name="connsiteY42" fmla="*/ 31287 h 2180854"/>
              <a:gd name="connsiteX43" fmla="*/ 2232606 w 2325894"/>
              <a:gd name="connsiteY43" fmla="*/ 756233 h 2180854"/>
              <a:gd name="connsiteX44" fmla="*/ 2325894 w 2325894"/>
              <a:gd name="connsiteY44" fmla="*/ 760959 h 2180854"/>
              <a:gd name="connsiteX45" fmla="*/ 2325894 w 2325894"/>
              <a:gd name="connsiteY45" fmla="*/ 784060 h 2180854"/>
              <a:gd name="connsiteX46" fmla="*/ 2230270 w 2325894"/>
              <a:gd name="connsiteY46" fmla="*/ 779216 h 2180854"/>
              <a:gd name="connsiteX47" fmla="*/ 1408246 w 2325894"/>
              <a:gd name="connsiteY47" fmla="*/ 35964 h 2180854"/>
              <a:gd name="connsiteX48" fmla="*/ 1274343 w 2325894"/>
              <a:gd name="connsiteY48" fmla="*/ 0 h 2180854"/>
              <a:gd name="connsiteX49" fmla="*/ 1300756 w 2325894"/>
              <a:gd name="connsiteY49" fmla="*/ 0 h 2180854"/>
              <a:gd name="connsiteX50" fmla="*/ 1306507 w 2325894"/>
              <a:gd name="connsiteY50" fmla="*/ 56884 h 2180854"/>
              <a:gd name="connsiteX51" fmla="*/ 2219643 w 2325894"/>
              <a:gd name="connsiteY51" fmla="*/ 882640 h 2180854"/>
              <a:gd name="connsiteX52" fmla="*/ 2325894 w 2325894"/>
              <a:gd name="connsiteY52" fmla="*/ 888022 h 2180854"/>
              <a:gd name="connsiteX53" fmla="*/ 2325894 w 2325894"/>
              <a:gd name="connsiteY53" fmla="*/ 911123 h 2180854"/>
              <a:gd name="connsiteX54" fmla="*/ 2217286 w 2325894"/>
              <a:gd name="connsiteY54" fmla="*/ 905621 h 2180854"/>
              <a:gd name="connsiteX55" fmla="*/ 1283761 w 2325894"/>
              <a:gd name="connsiteY55" fmla="*/ 61528 h 2180854"/>
              <a:gd name="connsiteX56" fmla="*/ 1146071 w 2325894"/>
              <a:gd name="connsiteY56" fmla="*/ 0 h 2180854"/>
              <a:gd name="connsiteX57" fmla="*/ 1169414 w 2325894"/>
              <a:gd name="connsiteY57" fmla="*/ 0 h 2180854"/>
              <a:gd name="connsiteX58" fmla="*/ 1182030 w 2325894"/>
              <a:gd name="connsiteY58" fmla="*/ 82429 h 2180854"/>
              <a:gd name="connsiteX59" fmla="*/ 2206679 w 2325894"/>
              <a:gd name="connsiteY59" fmla="*/ 1008912 h 2180854"/>
              <a:gd name="connsiteX60" fmla="*/ 2325894 w 2325894"/>
              <a:gd name="connsiteY60" fmla="*/ 1014951 h 2180854"/>
              <a:gd name="connsiteX61" fmla="*/ 2325894 w 2325894"/>
              <a:gd name="connsiteY61" fmla="*/ 1038052 h 2180854"/>
              <a:gd name="connsiteX62" fmla="*/ 2204323 w 2325894"/>
              <a:gd name="connsiteY62" fmla="*/ 1031893 h 2180854"/>
              <a:gd name="connsiteX63" fmla="*/ 1159398 w 2325894"/>
              <a:gd name="connsiteY63" fmla="*/ 87072 h 2180854"/>
              <a:gd name="connsiteX64" fmla="*/ 1017789 w 2325894"/>
              <a:gd name="connsiteY64" fmla="*/ 0 h 2180854"/>
              <a:gd name="connsiteX65" fmla="*/ 1041132 w 2325894"/>
              <a:gd name="connsiteY65" fmla="*/ 0 h 2180854"/>
              <a:gd name="connsiteX66" fmla="*/ 1057661 w 2325894"/>
              <a:gd name="connsiteY66" fmla="*/ 107992 h 2180854"/>
              <a:gd name="connsiteX67" fmla="*/ 2193716 w 2325894"/>
              <a:gd name="connsiteY67" fmla="*/ 1135208 h 2180854"/>
              <a:gd name="connsiteX68" fmla="*/ 2325894 w 2325894"/>
              <a:gd name="connsiteY68" fmla="*/ 1141903 h 2180854"/>
              <a:gd name="connsiteX69" fmla="*/ 2325894 w 2325894"/>
              <a:gd name="connsiteY69" fmla="*/ 1165004 h 2180854"/>
              <a:gd name="connsiteX70" fmla="*/ 2191361 w 2325894"/>
              <a:gd name="connsiteY70" fmla="*/ 1158189 h 2180854"/>
              <a:gd name="connsiteX71" fmla="*/ 1035029 w 2325894"/>
              <a:gd name="connsiteY71" fmla="*/ 112636 h 2180854"/>
              <a:gd name="connsiteX72" fmla="*/ 889397 w 2325894"/>
              <a:gd name="connsiteY72" fmla="*/ 0 h 2180854"/>
              <a:gd name="connsiteX73" fmla="*/ 912837 w 2325894"/>
              <a:gd name="connsiteY73" fmla="*/ 0 h 2180854"/>
              <a:gd name="connsiteX74" fmla="*/ 933296 w 2325894"/>
              <a:gd name="connsiteY74" fmla="*/ 133667 h 2180854"/>
              <a:gd name="connsiteX75" fmla="*/ 2180754 w 2325894"/>
              <a:gd name="connsiteY75" fmla="*/ 1261608 h 2180854"/>
              <a:gd name="connsiteX76" fmla="*/ 2325894 w 2325894"/>
              <a:gd name="connsiteY76" fmla="*/ 1268960 h 2180854"/>
              <a:gd name="connsiteX77" fmla="*/ 2325894 w 2325894"/>
              <a:gd name="connsiteY77" fmla="*/ 1292061 h 2180854"/>
              <a:gd name="connsiteX78" fmla="*/ 2178378 w 2325894"/>
              <a:gd name="connsiteY78" fmla="*/ 1284588 h 2180854"/>
              <a:gd name="connsiteX79" fmla="*/ 910550 w 2325894"/>
              <a:gd name="connsiteY79" fmla="*/ 138199 h 2180854"/>
              <a:gd name="connsiteX80" fmla="*/ 761929 w 2325894"/>
              <a:gd name="connsiteY80" fmla="*/ 0 h 2180854"/>
              <a:gd name="connsiteX81" fmla="*/ 785032 w 2325894"/>
              <a:gd name="connsiteY81" fmla="*/ 0 h 2180854"/>
              <a:gd name="connsiteX82" fmla="*/ 785312 w 2325894"/>
              <a:gd name="connsiteY82" fmla="*/ 5523 h 2180854"/>
              <a:gd name="connsiteX83" fmla="*/ 2167790 w 2325894"/>
              <a:gd name="connsiteY83" fmla="*/ 1387884 h 2180854"/>
              <a:gd name="connsiteX84" fmla="*/ 2325894 w 2325894"/>
              <a:gd name="connsiteY84" fmla="*/ 1395894 h 2180854"/>
              <a:gd name="connsiteX85" fmla="*/ 2325894 w 2325894"/>
              <a:gd name="connsiteY85" fmla="*/ 1418995 h 2180854"/>
              <a:gd name="connsiteX86" fmla="*/ 2165434 w 2325894"/>
              <a:gd name="connsiteY86" fmla="*/ 1410866 h 2180854"/>
              <a:gd name="connsiteX87" fmla="*/ 762328 w 2325894"/>
              <a:gd name="connsiteY87" fmla="*/ 7877 h 2180854"/>
              <a:gd name="connsiteX88" fmla="*/ 634980 w 2325894"/>
              <a:gd name="connsiteY88" fmla="*/ 0 h 2180854"/>
              <a:gd name="connsiteX89" fmla="*/ 658083 w 2325894"/>
              <a:gd name="connsiteY89" fmla="*/ 0 h 2180854"/>
              <a:gd name="connsiteX90" fmla="*/ 659019 w 2325894"/>
              <a:gd name="connsiteY90" fmla="*/ 18476 h 2180854"/>
              <a:gd name="connsiteX91" fmla="*/ 2154827 w 2325894"/>
              <a:gd name="connsiteY91" fmla="*/ 1514157 h 2180854"/>
              <a:gd name="connsiteX92" fmla="*/ 2325894 w 2325894"/>
              <a:gd name="connsiteY92" fmla="*/ 1522823 h 2180854"/>
              <a:gd name="connsiteX93" fmla="*/ 2325894 w 2325894"/>
              <a:gd name="connsiteY93" fmla="*/ 1545924 h 2180854"/>
              <a:gd name="connsiteX94" fmla="*/ 2152472 w 2325894"/>
              <a:gd name="connsiteY94" fmla="*/ 1537138 h 2180854"/>
              <a:gd name="connsiteX95" fmla="*/ 636036 w 2325894"/>
              <a:gd name="connsiteY95" fmla="*/ 20831 h 2180854"/>
              <a:gd name="connsiteX96" fmla="*/ 507911 w 2325894"/>
              <a:gd name="connsiteY96" fmla="*/ 0 h 2180854"/>
              <a:gd name="connsiteX97" fmla="*/ 531128 w 2325894"/>
              <a:gd name="connsiteY97" fmla="*/ 0 h 2180854"/>
              <a:gd name="connsiteX98" fmla="*/ 532727 w 2325894"/>
              <a:gd name="connsiteY98" fmla="*/ 31559 h 2180854"/>
              <a:gd name="connsiteX99" fmla="*/ 2141864 w 2325894"/>
              <a:gd name="connsiteY99" fmla="*/ 1640562 h 2180854"/>
              <a:gd name="connsiteX100" fmla="*/ 2325894 w 2325894"/>
              <a:gd name="connsiteY100" fmla="*/ 1649885 h 2180854"/>
              <a:gd name="connsiteX101" fmla="*/ 2325894 w 2325894"/>
              <a:gd name="connsiteY101" fmla="*/ 1672981 h 2180854"/>
              <a:gd name="connsiteX102" fmla="*/ 2139488 w 2325894"/>
              <a:gd name="connsiteY102" fmla="*/ 1663539 h 2180854"/>
              <a:gd name="connsiteX103" fmla="*/ 509624 w 2325894"/>
              <a:gd name="connsiteY103" fmla="*/ 33818 h 2180854"/>
              <a:gd name="connsiteX104" fmla="*/ 380961 w 2325894"/>
              <a:gd name="connsiteY104" fmla="*/ 0 h 2180854"/>
              <a:gd name="connsiteX105" fmla="*/ 404065 w 2325894"/>
              <a:gd name="connsiteY105" fmla="*/ 0 h 2180854"/>
              <a:gd name="connsiteX106" fmla="*/ 406316 w 2325894"/>
              <a:gd name="connsiteY106" fmla="*/ 44437 h 2180854"/>
              <a:gd name="connsiteX107" fmla="*/ 2128900 w 2325894"/>
              <a:gd name="connsiteY107" fmla="*/ 1766854 h 2180854"/>
              <a:gd name="connsiteX108" fmla="*/ 2325894 w 2325894"/>
              <a:gd name="connsiteY108" fmla="*/ 1776833 h 2180854"/>
              <a:gd name="connsiteX109" fmla="*/ 2325894 w 2325894"/>
              <a:gd name="connsiteY109" fmla="*/ 1799934 h 2180854"/>
              <a:gd name="connsiteX110" fmla="*/ 2126525 w 2325894"/>
              <a:gd name="connsiteY110" fmla="*/ 1789835 h 2180854"/>
              <a:gd name="connsiteX111" fmla="*/ 383332 w 2325894"/>
              <a:gd name="connsiteY111" fmla="*/ 46792 h 2180854"/>
              <a:gd name="connsiteX112" fmla="*/ 254013 w 2325894"/>
              <a:gd name="connsiteY112" fmla="*/ 0 h 2180854"/>
              <a:gd name="connsiteX113" fmla="*/ 277116 w 2325894"/>
              <a:gd name="connsiteY113" fmla="*/ 0 h 2180854"/>
              <a:gd name="connsiteX114" fmla="*/ 280023 w 2325894"/>
              <a:gd name="connsiteY114" fmla="*/ 57371 h 2180854"/>
              <a:gd name="connsiteX115" fmla="*/ 2115917 w 2325894"/>
              <a:gd name="connsiteY115" fmla="*/ 1893125 h 2180854"/>
              <a:gd name="connsiteX116" fmla="*/ 2325894 w 2325894"/>
              <a:gd name="connsiteY116" fmla="*/ 1903762 h 2180854"/>
              <a:gd name="connsiteX117" fmla="*/ 2325894 w 2325894"/>
              <a:gd name="connsiteY117" fmla="*/ 1926863 h 2180854"/>
              <a:gd name="connsiteX118" fmla="*/ 2113563 w 2325894"/>
              <a:gd name="connsiteY118" fmla="*/ 1916107 h 2180854"/>
              <a:gd name="connsiteX119" fmla="*/ 257040 w 2325894"/>
              <a:gd name="connsiteY119" fmla="*/ 59745 h 2180854"/>
              <a:gd name="connsiteX120" fmla="*/ 126949 w 2325894"/>
              <a:gd name="connsiteY120" fmla="*/ 0 h 2180854"/>
              <a:gd name="connsiteX121" fmla="*/ 150160 w 2325894"/>
              <a:gd name="connsiteY121" fmla="*/ 0 h 2180854"/>
              <a:gd name="connsiteX122" fmla="*/ 153729 w 2325894"/>
              <a:gd name="connsiteY122" fmla="*/ 70454 h 2180854"/>
              <a:gd name="connsiteX123" fmla="*/ 2102955 w 2325894"/>
              <a:gd name="connsiteY123" fmla="*/ 2019530 h 2180854"/>
              <a:gd name="connsiteX124" fmla="*/ 2325894 w 2325894"/>
              <a:gd name="connsiteY124" fmla="*/ 2030824 h 2180854"/>
              <a:gd name="connsiteX125" fmla="*/ 2325894 w 2325894"/>
              <a:gd name="connsiteY125" fmla="*/ 2053925 h 2180854"/>
              <a:gd name="connsiteX126" fmla="*/ 2100598 w 2325894"/>
              <a:gd name="connsiteY126" fmla="*/ 2042512 h 2180854"/>
              <a:gd name="connsiteX127" fmla="*/ 130633 w 2325894"/>
              <a:gd name="connsiteY127" fmla="*/ 72714 h 2180854"/>
              <a:gd name="connsiteX128" fmla="*/ 0 w 2325894"/>
              <a:gd name="connsiteY128" fmla="*/ 0 h 2180854"/>
              <a:gd name="connsiteX129" fmla="*/ 23103 w 2325894"/>
              <a:gd name="connsiteY129" fmla="*/ 0 h 2180854"/>
              <a:gd name="connsiteX130" fmla="*/ 27324 w 2325894"/>
              <a:gd name="connsiteY130" fmla="*/ 83311 h 2180854"/>
              <a:gd name="connsiteX131" fmla="*/ 2089991 w 2325894"/>
              <a:gd name="connsiteY131" fmla="*/ 2145803 h 2180854"/>
              <a:gd name="connsiteX132" fmla="*/ 2325894 w 2325894"/>
              <a:gd name="connsiteY132" fmla="*/ 2157753 h 2180854"/>
              <a:gd name="connsiteX133" fmla="*/ 2325894 w 2325894"/>
              <a:gd name="connsiteY133" fmla="*/ 2180854 h 2180854"/>
              <a:gd name="connsiteX134" fmla="*/ 2087636 w 2325894"/>
              <a:gd name="connsiteY134" fmla="*/ 2168784 h 2180854"/>
              <a:gd name="connsiteX135" fmla="*/ 4341 w 2325894"/>
              <a:gd name="connsiteY135" fmla="*/ 85667 h 21808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</a:cxnLst>
            <a:rect l="l" t="t" r="r" b="b"/>
            <a:pathLst>
              <a:path w="2325894" h="2180854">
                <a:moveTo>
                  <a:pt x="2066927" y="0"/>
                </a:moveTo>
                <a:lnTo>
                  <a:pt x="2098882" y="0"/>
                </a:lnTo>
                <a:lnTo>
                  <a:pt x="2128893" y="44463"/>
                </a:lnTo>
                <a:cubicBezTo>
                  <a:pt x="2166753" y="82308"/>
                  <a:pt x="2215417" y="109341"/>
                  <a:pt x="2269798" y="120493"/>
                </a:cubicBezTo>
                <a:lnTo>
                  <a:pt x="2325894" y="126162"/>
                </a:lnTo>
                <a:lnTo>
                  <a:pt x="2325894" y="149263"/>
                </a:lnTo>
                <a:lnTo>
                  <a:pt x="2265120" y="143117"/>
                </a:lnTo>
                <a:cubicBezTo>
                  <a:pt x="2186576" y="127002"/>
                  <a:pt x="2119077" y="80290"/>
                  <a:pt x="2075647" y="16048"/>
                </a:cubicBezTo>
                <a:close/>
                <a:moveTo>
                  <a:pt x="1926448" y="0"/>
                </a:moveTo>
                <a:lnTo>
                  <a:pt x="1950522" y="0"/>
                </a:lnTo>
                <a:lnTo>
                  <a:pt x="1952130" y="5167"/>
                </a:lnTo>
                <a:cubicBezTo>
                  <a:pt x="2003529" y="126455"/>
                  <a:pt x="2112323" y="217766"/>
                  <a:pt x="2244242" y="244834"/>
                </a:cubicBezTo>
                <a:lnTo>
                  <a:pt x="2325894" y="253091"/>
                </a:lnTo>
                <a:lnTo>
                  <a:pt x="2325894" y="276192"/>
                </a:lnTo>
                <a:lnTo>
                  <a:pt x="2239598" y="267464"/>
                </a:lnTo>
                <a:cubicBezTo>
                  <a:pt x="2100173" y="238852"/>
                  <a:pt x="1985178" y="142334"/>
                  <a:pt x="1930848" y="14141"/>
                </a:cubicBezTo>
                <a:close/>
                <a:moveTo>
                  <a:pt x="1794114" y="0"/>
                </a:moveTo>
                <a:lnTo>
                  <a:pt x="1818202" y="0"/>
                </a:lnTo>
                <a:lnTo>
                  <a:pt x="1835170" y="54535"/>
                </a:lnTo>
                <a:cubicBezTo>
                  <a:pt x="1902650" y="213778"/>
                  <a:pt x="2045483" y="333656"/>
                  <a:pt x="2218687" y="369191"/>
                </a:cubicBezTo>
                <a:lnTo>
                  <a:pt x="2325894" y="380032"/>
                </a:lnTo>
                <a:lnTo>
                  <a:pt x="2325894" y="403132"/>
                </a:lnTo>
                <a:lnTo>
                  <a:pt x="2214043" y="391825"/>
                </a:lnTo>
                <a:cubicBezTo>
                  <a:pt x="2033333" y="354761"/>
                  <a:pt x="1884299" y="229720"/>
                  <a:pt x="1813889" y="63559"/>
                </a:cubicBezTo>
                <a:close/>
                <a:moveTo>
                  <a:pt x="1661683" y="0"/>
                </a:moveTo>
                <a:lnTo>
                  <a:pt x="1685874" y="0"/>
                </a:lnTo>
                <a:lnTo>
                  <a:pt x="1718212" y="103965"/>
                </a:lnTo>
                <a:cubicBezTo>
                  <a:pt x="1801772" y="301203"/>
                  <a:pt x="1978643" y="449654"/>
                  <a:pt x="2193133" y="493659"/>
                </a:cubicBezTo>
                <a:lnTo>
                  <a:pt x="2325894" y="507083"/>
                </a:lnTo>
                <a:lnTo>
                  <a:pt x="2325894" y="530183"/>
                </a:lnTo>
                <a:lnTo>
                  <a:pt x="2188450" y="516288"/>
                </a:lnTo>
                <a:cubicBezTo>
                  <a:pt x="1966399" y="470740"/>
                  <a:pt x="1783312" y="317082"/>
                  <a:pt x="1696817" y="112939"/>
                </a:cubicBezTo>
                <a:close/>
                <a:moveTo>
                  <a:pt x="1531553" y="0"/>
                </a:moveTo>
                <a:lnTo>
                  <a:pt x="1554659" y="0"/>
                </a:lnTo>
                <a:lnTo>
                  <a:pt x="1555243" y="5776"/>
                </a:lnTo>
                <a:cubicBezTo>
                  <a:pt x="1623483" y="338327"/>
                  <a:pt x="1902268" y="594992"/>
                  <a:pt x="2245588" y="629962"/>
                </a:cubicBezTo>
                <a:lnTo>
                  <a:pt x="2325894" y="634030"/>
                </a:lnTo>
                <a:lnTo>
                  <a:pt x="2325894" y="657131"/>
                </a:lnTo>
                <a:lnTo>
                  <a:pt x="2243214" y="652943"/>
                </a:lnTo>
                <a:cubicBezTo>
                  <a:pt x="1889750" y="616944"/>
                  <a:pt x="1602834" y="352727"/>
                  <a:pt x="1532607" y="10419"/>
                </a:cubicBezTo>
                <a:close/>
                <a:moveTo>
                  <a:pt x="1404609" y="0"/>
                </a:moveTo>
                <a:lnTo>
                  <a:pt x="1427709" y="0"/>
                </a:lnTo>
                <a:lnTo>
                  <a:pt x="1430873" y="31287"/>
                </a:lnTo>
                <a:cubicBezTo>
                  <a:pt x="1510102" y="417452"/>
                  <a:pt x="1833798" y="715609"/>
                  <a:pt x="2232606" y="756233"/>
                </a:cubicBezTo>
                <a:lnTo>
                  <a:pt x="2325894" y="760959"/>
                </a:lnTo>
                <a:lnTo>
                  <a:pt x="2325894" y="784060"/>
                </a:lnTo>
                <a:lnTo>
                  <a:pt x="2230270" y="779216"/>
                </a:lnTo>
                <a:cubicBezTo>
                  <a:pt x="1821463" y="737574"/>
                  <a:pt x="1489501" y="431938"/>
                  <a:pt x="1408246" y="35964"/>
                </a:cubicBezTo>
                <a:close/>
                <a:moveTo>
                  <a:pt x="1274343" y="0"/>
                </a:moveTo>
                <a:lnTo>
                  <a:pt x="1300756" y="0"/>
                </a:lnTo>
                <a:lnTo>
                  <a:pt x="1306507" y="56884"/>
                </a:lnTo>
                <a:cubicBezTo>
                  <a:pt x="1396745" y="496788"/>
                  <a:pt x="1765420" y="836372"/>
                  <a:pt x="2219643" y="882640"/>
                </a:cubicBezTo>
                <a:lnTo>
                  <a:pt x="2325894" y="888022"/>
                </a:lnTo>
                <a:lnTo>
                  <a:pt x="2325894" y="911123"/>
                </a:lnTo>
                <a:lnTo>
                  <a:pt x="2217286" y="905621"/>
                </a:lnTo>
                <a:cubicBezTo>
                  <a:pt x="1752979" y="858324"/>
                  <a:pt x="1376027" y="511189"/>
                  <a:pt x="1283761" y="61528"/>
                </a:cubicBezTo>
                <a:close/>
                <a:moveTo>
                  <a:pt x="1146071" y="0"/>
                </a:moveTo>
                <a:lnTo>
                  <a:pt x="1169414" y="0"/>
                </a:lnTo>
                <a:lnTo>
                  <a:pt x="1182030" y="82429"/>
                </a:lnTo>
                <a:cubicBezTo>
                  <a:pt x="1283296" y="576000"/>
                  <a:pt x="1697029" y="957001"/>
                  <a:pt x="2206679" y="1008912"/>
                </a:cubicBezTo>
                <a:lnTo>
                  <a:pt x="2325894" y="1014951"/>
                </a:lnTo>
                <a:lnTo>
                  <a:pt x="2325894" y="1038052"/>
                </a:lnTo>
                <a:lnTo>
                  <a:pt x="2204323" y="1031893"/>
                </a:lnTo>
                <a:cubicBezTo>
                  <a:pt x="1684600" y="978953"/>
                  <a:pt x="1262670" y="590398"/>
                  <a:pt x="1159398" y="87072"/>
                </a:cubicBezTo>
                <a:close/>
                <a:moveTo>
                  <a:pt x="1017789" y="0"/>
                </a:moveTo>
                <a:lnTo>
                  <a:pt x="1041132" y="0"/>
                </a:lnTo>
                <a:lnTo>
                  <a:pt x="1057661" y="107992"/>
                </a:lnTo>
                <a:cubicBezTo>
                  <a:pt x="1169939" y="655229"/>
                  <a:pt x="1628650" y="1077653"/>
                  <a:pt x="2193716" y="1135208"/>
                </a:cubicBezTo>
                <a:lnTo>
                  <a:pt x="2325894" y="1141903"/>
                </a:lnTo>
                <a:lnTo>
                  <a:pt x="2325894" y="1165004"/>
                </a:lnTo>
                <a:lnTo>
                  <a:pt x="2191361" y="1158189"/>
                </a:lnTo>
                <a:cubicBezTo>
                  <a:pt x="1616222" y="1099606"/>
                  <a:pt x="1149313" y="669630"/>
                  <a:pt x="1035029" y="112636"/>
                </a:cubicBezTo>
                <a:close/>
                <a:moveTo>
                  <a:pt x="889397" y="0"/>
                </a:moveTo>
                <a:lnTo>
                  <a:pt x="912837" y="0"/>
                </a:lnTo>
                <a:lnTo>
                  <a:pt x="933296" y="133667"/>
                </a:lnTo>
                <a:cubicBezTo>
                  <a:pt x="1056582" y="734570"/>
                  <a:pt x="1560272" y="1198411"/>
                  <a:pt x="2180754" y="1261608"/>
                </a:cubicBezTo>
                <a:lnTo>
                  <a:pt x="2325894" y="1268960"/>
                </a:lnTo>
                <a:lnTo>
                  <a:pt x="2325894" y="1292061"/>
                </a:lnTo>
                <a:lnTo>
                  <a:pt x="2178378" y="1284588"/>
                </a:lnTo>
                <a:cubicBezTo>
                  <a:pt x="1547742" y="1220351"/>
                  <a:pt x="1035844" y="748879"/>
                  <a:pt x="910550" y="138199"/>
                </a:cubicBezTo>
                <a:close/>
                <a:moveTo>
                  <a:pt x="761929" y="0"/>
                </a:moveTo>
                <a:lnTo>
                  <a:pt x="785032" y="0"/>
                </a:lnTo>
                <a:lnTo>
                  <a:pt x="785312" y="5523"/>
                </a:lnTo>
                <a:cubicBezTo>
                  <a:pt x="859466" y="733364"/>
                  <a:pt x="1439889" y="1313736"/>
                  <a:pt x="2167790" y="1387884"/>
                </a:cubicBezTo>
                <a:lnTo>
                  <a:pt x="2325894" y="1395894"/>
                </a:lnTo>
                <a:lnTo>
                  <a:pt x="2325894" y="1418995"/>
                </a:lnTo>
                <a:lnTo>
                  <a:pt x="2165434" y="1410866"/>
                </a:lnTo>
                <a:cubicBezTo>
                  <a:pt x="1426685" y="1335609"/>
                  <a:pt x="837591" y="746563"/>
                  <a:pt x="762328" y="7877"/>
                </a:cubicBezTo>
                <a:close/>
                <a:moveTo>
                  <a:pt x="634980" y="0"/>
                </a:moveTo>
                <a:lnTo>
                  <a:pt x="658083" y="0"/>
                </a:lnTo>
                <a:lnTo>
                  <a:pt x="659019" y="18476"/>
                </a:lnTo>
                <a:cubicBezTo>
                  <a:pt x="739252" y="805990"/>
                  <a:pt x="1367247" y="1433931"/>
                  <a:pt x="2154827" y="1514157"/>
                </a:cubicBezTo>
                <a:lnTo>
                  <a:pt x="2325894" y="1522823"/>
                </a:lnTo>
                <a:lnTo>
                  <a:pt x="2325894" y="1545924"/>
                </a:lnTo>
                <a:lnTo>
                  <a:pt x="2152472" y="1537138"/>
                </a:lnTo>
                <a:cubicBezTo>
                  <a:pt x="1354048" y="1455804"/>
                  <a:pt x="717377" y="819188"/>
                  <a:pt x="636036" y="20831"/>
                </a:cubicBezTo>
                <a:close/>
                <a:moveTo>
                  <a:pt x="507911" y="0"/>
                </a:moveTo>
                <a:lnTo>
                  <a:pt x="531128" y="0"/>
                </a:lnTo>
                <a:lnTo>
                  <a:pt x="532727" y="31559"/>
                </a:lnTo>
                <a:cubicBezTo>
                  <a:pt x="619037" y="878744"/>
                  <a:pt x="1294606" y="1554259"/>
                  <a:pt x="2141864" y="1640562"/>
                </a:cubicBezTo>
                <a:lnTo>
                  <a:pt x="2325894" y="1649885"/>
                </a:lnTo>
                <a:lnTo>
                  <a:pt x="2325894" y="1672981"/>
                </a:lnTo>
                <a:lnTo>
                  <a:pt x="2139488" y="1663539"/>
                </a:lnTo>
                <a:cubicBezTo>
                  <a:pt x="1281294" y="1576127"/>
                  <a:pt x="597044" y="891939"/>
                  <a:pt x="509624" y="33818"/>
                </a:cubicBezTo>
                <a:close/>
                <a:moveTo>
                  <a:pt x="380961" y="0"/>
                </a:moveTo>
                <a:lnTo>
                  <a:pt x="404065" y="0"/>
                </a:lnTo>
                <a:lnTo>
                  <a:pt x="406316" y="44437"/>
                </a:lnTo>
                <a:cubicBezTo>
                  <a:pt x="498717" y="951387"/>
                  <a:pt x="1221951" y="1674473"/>
                  <a:pt x="2128900" y="1766854"/>
                </a:cubicBezTo>
                <a:lnTo>
                  <a:pt x="2325894" y="1776833"/>
                </a:lnTo>
                <a:lnTo>
                  <a:pt x="2325894" y="1799934"/>
                </a:lnTo>
                <a:lnTo>
                  <a:pt x="2126525" y="1789835"/>
                </a:lnTo>
                <a:cubicBezTo>
                  <a:pt x="1208653" y="1696346"/>
                  <a:pt x="476829" y="964585"/>
                  <a:pt x="383332" y="46792"/>
                </a:cubicBezTo>
                <a:close/>
                <a:moveTo>
                  <a:pt x="254013" y="0"/>
                </a:moveTo>
                <a:lnTo>
                  <a:pt x="277116" y="0"/>
                </a:lnTo>
                <a:lnTo>
                  <a:pt x="280023" y="57371"/>
                </a:lnTo>
                <a:cubicBezTo>
                  <a:pt x="378489" y="1023914"/>
                  <a:pt x="1149211" y="1794655"/>
                  <a:pt x="2115917" y="1893125"/>
                </a:cubicBezTo>
                <a:lnTo>
                  <a:pt x="2325894" y="1903762"/>
                </a:lnTo>
                <a:lnTo>
                  <a:pt x="2325894" y="1926863"/>
                </a:lnTo>
                <a:lnTo>
                  <a:pt x="2113563" y="1916107"/>
                </a:lnTo>
                <a:cubicBezTo>
                  <a:pt x="1136012" y="1816541"/>
                  <a:pt x="356615" y="1037211"/>
                  <a:pt x="257040" y="59745"/>
                </a:cubicBezTo>
                <a:close/>
                <a:moveTo>
                  <a:pt x="126949" y="0"/>
                </a:moveTo>
                <a:lnTo>
                  <a:pt x="150160" y="0"/>
                </a:lnTo>
                <a:lnTo>
                  <a:pt x="153729" y="70454"/>
                </a:lnTo>
                <a:cubicBezTo>
                  <a:pt x="258274" y="1096671"/>
                  <a:pt x="1076570" y="1914983"/>
                  <a:pt x="2102955" y="2019530"/>
                </a:cubicBezTo>
                <a:lnTo>
                  <a:pt x="2325894" y="2030824"/>
                </a:lnTo>
                <a:lnTo>
                  <a:pt x="2325894" y="2053925"/>
                </a:lnTo>
                <a:lnTo>
                  <a:pt x="2100598" y="2042512"/>
                </a:lnTo>
                <a:cubicBezTo>
                  <a:pt x="1063358" y="1936856"/>
                  <a:pt x="236298" y="1109866"/>
                  <a:pt x="130633" y="72714"/>
                </a:cubicBezTo>
                <a:close/>
                <a:moveTo>
                  <a:pt x="0" y="0"/>
                </a:moveTo>
                <a:lnTo>
                  <a:pt x="23103" y="0"/>
                </a:lnTo>
                <a:lnTo>
                  <a:pt x="27324" y="83311"/>
                </a:lnTo>
                <a:cubicBezTo>
                  <a:pt x="137958" y="1169290"/>
                  <a:pt x="1003916" y="2035178"/>
                  <a:pt x="2089991" y="2145803"/>
                </a:cubicBezTo>
                <a:lnTo>
                  <a:pt x="2325894" y="2157753"/>
                </a:lnTo>
                <a:lnTo>
                  <a:pt x="2325894" y="2180854"/>
                </a:lnTo>
                <a:lnTo>
                  <a:pt x="2087636" y="2168784"/>
                </a:lnTo>
                <a:cubicBezTo>
                  <a:pt x="990717" y="2057051"/>
                  <a:pt x="116084" y="1182492"/>
                  <a:pt x="4341" y="85667"/>
                </a:cubicBezTo>
                <a:close/>
              </a:path>
            </a:pathLst>
          </a:custGeom>
          <a:solidFill>
            <a:srgbClr val="E6F0FE"/>
          </a:solidFill>
          <a:ln w="4763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55904" y="2825496"/>
            <a:ext cx="10680192" cy="2834640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r>
              <a:rPr lang="en-US"/>
              <a:t>Presentation tit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57129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9120" y="2395728"/>
            <a:ext cx="7013448" cy="1627632"/>
          </a:xfrm>
        </p:spPr>
        <p:txBody>
          <a:bodyPr lIns="0" tIns="0" rIns="0" bIns="0">
            <a:noAutofit/>
          </a:bodyPr>
          <a:lstStyle>
            <a:lvl1pPr algn="l">
              <a:lnSpc>
                <a:spcPct val="100000"/>
              </a:lnSpc>
              <a:defRPr sz="33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7" name="Text Placeholder 54">
            <a:extLst>
              <a:ext uri="{FF2B5EF4-FFF2-40B4-BE49-F238E27FC236}">
                <a16:creationId xmlns:a16="http://schemas.microsoft.com/office/drawing/2014/main" id="{A493C80D-2813-9E70-8901-D4B9EA4DD7E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11880" y="1984248"/>
            <a:ext cx="768096" cy="1627632"/>
          </a:xfrm>
        </p:spPr>
        <p:txBody>
          <a:bodyPr lIns="91440" tIns="45720" rIns="91440" bIns="54864">
            <a:noAutofit/>
          </a:bodyPr>
          <a:lstStyle>
            <a:lvl1pPr marL="0" indent="0">
              <a:buNone/>
              <a:defRPr sz="10000" b="1"/>
            </a:lvl1pPr>
          </a:lstStyle>
          <a:p>
            <a:pPr lvl="0"/>
            <a:r>
              <a:rPr lang="en-US"/>
              <a:t>“</a:t>
            </a:r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A2733C45-7C53-2BC5-3F62-D069650A79C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89120" y="4308475"/>
            <a:ext cx="3932238" cy="588963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2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6" name="Text Placeholder 54">
            <a:extLst>
              <a:ext uri="{FF2B5EF4-FFF2-40B4-BE49-F238E27FC236}">
                <a16:creationId xmlns:a16="http://schemas.microsoft.com/office/drawing/2014/main" id="{B1D62231-87CB-21EC-CF8C-46276AD1F95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500616" y="3209544"/>
            <a:ext cx="768096" cy="1627632"/>
          </a:xfrm>
        </p:spPr>
        <p:txBody>
          <a:bodyPr lIns="91440" tIns="45720" rIns="91440" bIns="54864">
            <a:noAutofit/>
          </a:bodyPr>
          <a:lstStyle>
            <a:lvl1pPr marL="0" indent="0">
              <a:buNone/>
              <a:defRPr sz="10000" b="1"/>
            </a:lvl1pPr>
          </a:lstStyle>
          <a:p>
            <a:pPr lvl="0"/>
            <a:r>
              <a:rPr lang="en-US"/>
              <a:t>”</a:t>
            </a:r>
          </a:p>
        </p:txBody>
      </p:sp>
      <p:sp>
        <p:nvSpPr>
          <p:cNvPr id="32" name="Image 1" descr="preencoded.png">
            <a:extLst>
              <a:ext uri="{FF2B5EF4-FFF2-40B4-BE49-F238E27FC236}">
                <a16:creationId xmlns:a16="http://schemas.microsoft.com/office/drawing/2014/main" id="{2A3EC91E-4089-D366-06D3-3E66F93DFAF3}"/>
              </a:ext>
            </a:extLst>
          </p:cNvPr>
          <p:cNvSpPr/>
          <p:nvPr/>
        </p:nvSpPr>
        <p:spPr>
          <a:xfrm>
            <a:off x="-7117" y="0"/>
            <a:ext cx="2550985" cy="6858000"/>
          </a:xfrm>
          <a:custGeom>
            <a:avLst/>
            <a:gdLst>
              <a:gd name="connsiteX0" fmla="*/ 2550985 w 2550985"/>
              <a:gd name="connsiteY0" fmla="*/ 0 h 6858000"/>
              <a:gd name="connsiteX1" fmla="*/ 0 w 2550985"/>
              <a:gd name="connsiteY1" fmla="*/ 0 h 6858000"/>
              <a:gd name="connsiteX2" fmla="*/ 0 w 2550985"/>
              <a:gd name="connsiteY2" fmla="*/ 6858000 h 6858000"/>
              <a:gd name="connsiteX3" fmla="*/ 2550985 w 2550985"/>
              <a:gd name="connsiteY3" fmla="*/ 6858000 h 6858000"/>
              <a:gd name="connsiteX4" fmla="*/ 2550985 w 2550985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50985" h="6858000">
                <a:moveTo>
                  <a:pt x="2550985" y="0"/>
                </a:moveTo>
                <a:lnTo>
                  <a:pt x="0" y="0"/>
                </a:lnTo>
                <a:lnTo>
                  <a:pt x="0" y="6858000"/>
                </a:lnTo>
                <a:lnTo>
                  <a:pt x="2550985" y="6858000"/>
                </a:lnTo>
                <a:lnTo>
                  <a:pt x="2550985" y="0"/>
                </a:lnTo>
                <a:close/>
              </a:path>
            </a:pathLst>
          </a:custGeom>
          <a:solidFill>
            <a:schemeClr val="accent4"/>
          </a:solidFill>
          <a:ln w="7045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endParaRPr lang="en-US"/>
          </a:p>
        </p:txBody>
      </p:sp>
      <p:sp>
        <p:nvSpPr>
          <p:cNvPr id="53" name="Freeform: Shape 52">
            <a:extLst>
              <a:ext uri="{FF2B5EF4-FFF2-40B4-BE49-F238E27FC236}">
                <a16:creationId xmlns:a16="http://schemas.microsoft.com/office/drawing/2014/main" id="{70F595E1-C910-3710-90E9-AF5FFCE05861}"/>
              </a:ext>
            </a:extLst>
          </p:cNvPr>
          <p:cNvSpPr/>
          <p:nvPr userDrawn="1"/>
        </p:nvSpPr>
        <p:spPr>
          <a:xfrm>
            <a:off x="-9415" y="0"/>
            <a:ext cx="2548591" cy="2555628"/>
          </a:xfrm>
          <a:custGeom>
            <a:avLst/>
            <a:gdLst>
              <a:gd name="connsiteX0" fmla="*/ 138643 w 2548591"/>
              <a:gd name="connsiteY0" fmla="*/ 1 h 2555628"/>
              <a:gd name="connsiteX1" fmla="*/ 163874 w 2548591"/>
              <a:gd name="connsiteY1" fmla="*/ 1 h 2555628"/>
              <a:gd name="connsiteX2" fmla="*/ 2548463 w 2548591"/>
              <a:gd name="connsiteY2" fmla="*/ 2391168 h 2555628"/>
              <a:gd name="connsiteX3" fmla="*/ 2548463 w 2548591"/>
              <a:gd name="connsiteY3" fmla="*/ 2416472 h 2555628"/>
              <a:gd name="connsiteX4" fmla="*/ 2548590 w 2548591"/>
              <a:gd name="connsiteY4" fmla="*/ 2416600 h 2555628"/>
              <a:gd name="connsiteX5" fmla="*/ 138643 w 2548591"/>
              <a:gd name="connsiteY5" fmla="*/ 1 h 2555628"/>
              <a:gd name="connsiteX6" fmla="*/ 0 w 2548591"/>
              <a:gd name="connsiteY6" fmla="*/ 1 h 2555628"/>
              <a:gd name="connsiteX7" fmla="*/ 25231 w 2548591"/>
              <a:gd name="connsiteY7" fmla="*/ 1 h 2555628"/>
              <a:gd name="connsiteX8" fmla="*/ 2548591 w 2548591"/>
              <a:gd name="connsiteY8" fmla="*/ 2530324 h 2555628"/>
              <a:gd name="connsiteX9" fmla="*/ 2548591 w 2548591"/>
              <a:gd name="connsiteY9" fmla="*/ 2555628 h 2555628"/>
              <a:gd name="connsiteX10" fmla="*/ 0 w 2548591"/>
              <a:gd name="connsiteY10" fmla="*/ 1 h 2555628"/>
              <a:gd name="connsiteX11" fmla="*/ 277411 w 2548591"/>
              <a:gd name="connsiteY11" fmla="*/ 1 h 2555628"/>
              <a:gd name="connsiteX12" fmla="*/ 302642 w 2548591"/>
              <a:gd name="connsiteY12" fmla="*/ 1 h 2555628"/>
              <a:gd name="connsiteX13" fmla="*/ 2548582 w 2548591"/>
              <a:gd name="connsiteY13" fmla="*/ 2252147 h 2555628"/>
              <a:gd name="connsiteX14" fmla="*/ 2548582 w 2548591"/>
              <a:gd name="connsiteY14" fmla="*/ 2277444 h 2555628"/>
              <a:gd name="connsiteX15" fmla="*/ 277411 w 2548591"/>
              <a:gd name="connsiteY15" fmla="*/ 1 h 2555628"/>
              <a:gd name="connsiteX16" fmla="*/ 416054 w 2548591"/>
              <a:gd name="connsiteY16" fmla="*/ 1 h 2555628"/>
              <a:gd name="connsiteX17" fmla="*/ 441285 w 2548591"/>
              <a:gd name="connsiteY17" fmla="*/ 1 h 2555628"/>
              <a:gd name="connsiteX18" fmla="*/ 2548589 w 2548591"/>
              <a:gd name="connsiteY18" fmla="*/ 2113119 h 2555628"/>
              <a:gd name="connsiteX19" fmla="*/ 2548589 w 2548591"/>
              <a:gd name="connsiteY19" fmla="*/ 2138423 h 2555628"/>
              <a:gd name="connsiteX20" fmla="*/ 416054 w 2548591"/>
              <a:gd name="connsiteY20" fmla="*/ 1 h 2555628"/>
              <a:gd name="connsiteX21" fmla="*/ 554698 w 2548591"/>
              <a:gd name="connsiteY21" fmla="*/ 1 h 2555628"/>
              <a:gd name="connsiteX22" fmla="*/ 579930 w 2548591"/>
              <a:gd name="connsiteY22" fmla="*/ 1 h 2555628"/>
              <a:gd name="connsiteX23" fmla="*/ 2548462 w 2548591"/>
              <a:gd name="connsiteY23" fmla="*/ 1973963 h 2555628"/>
              <a:gd name="connsiteX24" fmla="*/ 2548462 w 2548591"/>
              <a:gd name="connsiteY24" fmla="*/ 1999267 h 2555628"/>
              <a:gd name="connsiteX25" fmla="*/ 2548589 w 2548591"/>
              <a:gd name="connsiteY25" fmla="*/ 1999394 h 2555628"/>
              <a:gd name="connsiteX26" fmla="*/ 554698 w 2548591"/>
              <a:gd name="connsiteY26" fmla="*/ 1 h 2555628"/>
              <a:gd name="connsiteX27" fmla="*/ 693468 w 2548591"/>
              <a:gd name="connsiteY27" fmla="*/ 0 h 2555628"/>
              <a:gd name="connsiteX28" fmla="*/ 718701 w 2548591"/>
              <a:gd name="connsiteY28" fmla="*/ 0 h 2555628"/>
              <a:gd name="connsiteX29" fmla="*/ 2548583 w 2548591"/>
              <a:gd name="connsiteY29" fmla="*/ 1834942 h 2555628"/>
              <a:gd name="connsiteX30" fmla="*/ 2548583 w 2548591"/>
              <a:gd name="connsiteY30" fmla="*/ 1860239 h 2555628"/>
              <a:gd name="connsiteX31" fmla="*/ 693468 w 2548591"/>
              <a:gd name="connsiteY31" fmla="*/ 0 h 2555628"/>
              <a:gd name="connsiteX32" fmla="*/ 832112 w 2548591"/>
              <a:gd name="connsiteY32" fmla="*/ 0 h 2555628"/>
              <a:gd name="connsiteX33" fmla="*/ 857340 w 2548591"/>
              <a:gd name="connsiteY33" fmla="*/ 0 h 2555628"/>
              <a:gd name="connsiteX34" fmla="*/ 2548582 w 2548591"/>
              <a:gd name="connsiteY34" fmla="*/ 1695913 h 2555628"/>
              <a:gd name="connsiteX35" fmla="*/ 2548582 w 2548591"/>
              <a:gd name="connsiteY35" fmla="*/ 1721210 h 2555628"/>
              <a:gd name="connsiteX36" fmla="*/ 832112 w 2548591"/>
              <a:gd name="connsiteY36" fmla="*/ 0 h 2555628"/>
              <a:gd name="connsiteX37" fmla="*/ 970758 w 2548591"/>
              <a:gd name="connsiteY37" fmla="*/ 0 h 2555628"/>
              <a:gd name="connsiteX38" fmla="*/ 995986 w 2548591"/>
              <a:gd name="connsiteY38" fmla="*/ 0 h 2555628"/>
              <a:gd name="connsiteX39" fmla="*/ 2548463 w 2548591"/>
              <a:gd name="connsiteY39" fmla="*/ 1556758 h 2555628"/>
              <a:gd name="connsiteX40" fmla="*/ 2548463 w 2548591"/>
              <a:gd name="connsiteY40" fmla="*/ 1582062 h 2555628"/>
              <a:gd name="connsiteX41" fmla="*/ 2548590 w 2548591"/>
              <a:gd name="connsiteY41" fmla="*/ 1582189 h 2555628"/>
              <a:gd name="connsiteX42" fmla="*/ 970758 w 2548591"/>
              <a:gd name="connsiteY42" fmla="*/ 0 h 2555628"/>
              <a:gd name="connsiteX43" fmla="*/ 1109529 w 2548591"/>
              <a:gd name="connsiteY43" fmla="*/ 0 h 2555628"/>
              <a:gd name="connsiteX44" fmla="*/ 1134764 w 2548591"/>
              <a:gd name="connsiteY44" fmla="*/ 0 h 2555628"/>
              <a:gd name="connsiteX45" fmla="*/ 2548589 w 2548591"/>
              <a:gd name="connsiteY45" fmla="*/ 1417736 h 2555628"/>
              <a:gd name="connsiteX46" fmla="*/ 2548589 w 2548591"/>
              <a:gd name="connsiteY46" fmla="*/ 1443033 h 2555628"/>
              <a:gd name="connsiteX47" fmla="*/ 1109529 w 2548591"/>
              <a:gd name="connsiteY47" fmla="*/ 0 h 2555628"/>
              <a:gd name="connsiteX48" fmla="*/ 1248168 w 2548591"/>
              <a:gd name="connsiteY48" fmla="*/ 0 h 2555628"/>
              <a:gd name="connsiteX49" fmla="*/ 1273396 w 2548591"/>
              <a:gd name="connsiteY49" fmla="*/ 0 h 2555628"/>
              <a:gd name="connsiteX50" fmla="*/ 2548583 w 2548591"/>
              <a:gd name="connsiteY50" fmla="*/ 1278708 h 2555628"/>
              <a:gd name="connsiteX51" fmla="*/ 2548583 w 2548591"/>
              <a:gd name="connsiteY51" fmla="*/ 1304005 h 2555628"/>
              <a:gd name="connsiteX52" fmla="*/ 1248168 w 2548591"/>
              <a:gd name="connsiteY52" fmla="*/ 0 h 2555628"/>
              <a:gd name="connsiteX53" fmla="*/ 1386813 w 2548591"/>
              <a:gd name="connsiteY53" fmla="*/ 0 h 2555628"/>
              <a:gd name="connsiteX54" fmla="*/ 1412041 w 2548591"/>
              <a:gd name="connsiteY54" fmla="*/ 0 h 2555628"/>
              <a:gd name="connsiteX55" fmla="*/ 2548589 w 2548591"/>
              <a:gd name="connsiteY55" fmla="*/ 1139552 h 2555628"/>
              <a:gd name="connsiteX56" fmla="*/ 2548589 w 2548591"/>
              <a:gd name="connsiteY56" fmla="*/ 1164857 h 2555628"/>
              <a:gd name="connsiteX57" fmla="*/ 2548589 w 2548591"/>
              <a:gd name="connsiteY57" fmla="*/ 1164984 h 2555628"/>
              <a:gd name="connsiteX58" fmla="*/ 1386813 w 2548591"/>
              <a:gd name="connsiteY58" fmla="*/ 0 h 2555628"/>
              <a:gd name="connsiteX59" fmla="*/ 1525579 w 2548591"/>
              <a:gd name="connsiteY59" fmla="*/ 0 h 2555628"/>
              <a:gd name="connsiteX60" fmla="*/ 1550814 w 2548591"/>
              <a:gd name="connsiteY60" fmla="*/ 0 h 2555628"/>
              <a:gd name="connsiteX61" fmla="*/ 2548583 w 2548591"/>
              <a:gd name="connsiteY61" fmla="*/ 1000531 h 2555628"/>
              <a:gd name="connsiteX62" fmla="*/ 2548583 w 2548591"/>
              <a:gd name="connsiteY62" fmla="*/ 1025828 h 2555628"/>
              <a:gd name="connsiteX63" fmla="*/ 1525579 w 2548591"/>
              <a:gd name="connsiteY63" fmla="*/ 0 h 2555628"/>
              <a:gd name="connsiteX64" fmla="*/ 1664231 w 2548591"/>
              <a:gd name="connsiteY64" fmla="*/ 0 h 2555628"/>
              <a:gd name="connsiteX65" fmla="*/ 1689459 w 2548591"/>
              <a:gd name="connsiteY65" fmla="*/ 0 h 2555628"/>
              <a:gd name="connsiteX66" fmla="*/ 2548589 w 2548591"/>
              <a:gd name="connsiteY66" fmla="*/ 861503 h 2555628"/>
              <a:gd name="connsiteX67" fmla="*/ 2548589 w 2548591"/>
              <a:gd name="connsiteY67" fmla="*/ 886800 h 2555628"/>
              <a:gd name="connsiteX68" fmla="*/ 1664231 w 2548591"/>
              <a:gd name="connsiteY68" fmla="*/ 0 h 2555628"/>
              <a:gd name="connsiteX69" fmla="*/ 1802870 w 2548591"/>
              <a:gd name="connsiteY69" fmla="*/ 0 h 2555628"/>
              <a:gd name="connsiteX70" fmla="*/ 1828097 w 2548591"/>
              <a:gd name="connsiteY70" fmla="*/ 0 h 2555628"/>
              <a:gd name="connsiteX71" fmla="*/ 2548583 w 2548591"/>
              <a:gd name="connsiteY71" fmla="*/ 722347 h 2555628"/>
              <a:gd name="connsiteX72" fmla="*/ 2548583 w 2548591"/>
              <a:gd name="connsiteY72" fmla="*/ 747651 h 2555628"/>
              <a:gd name="connsiteX73" fmla="*/ 2548583 w 2548591"/>
              <a:gd name="connsiteY73" fmla="*/ 747778 h 2555628"/>
              <a:gd name="connsiteX74" fmla="*/ 1802870 w 2548591"/>
              <a:gd name="connsiteY74" fmla="*/ 0 h 2555628"/>
              <a:gd name="connsiteX75" fmla="*/ 1941642 w 2548591"/>
              <a:gd name="connsiteY75" fmla="*/ 0 h 2555628"/>
              <a:gd name="connsiteX76" fmla="*/ 1966877 w 2548591"/>
              <a:gd name="connsiteY76" fmla="*/ 0 h 2555628"/>
              <a:gd name="connsiteX77" fmla="*/ 2548589 w 2548591"/>
              <a:gd name="connsiteY77" fmla="*/ 583321 h 2555628"/>
              <a:gd name="connsiteX78" fmla="*/ 2548589 w 2548591"/>
              <a:gd name="connsiteY78" fmla="*/ 608622 h 2555628"/>
              <a:gd name="connsiteX79" fmla="*/ 1941642 w 2548591"/>
              <a:gd name="connsiteY79" fmla="*/ 0 h 2555628"/>
              <a:gd name="connsiteX80" fmla="*/ 2080281 w 2548591"/>
              <a:gd name="connsiteY80" fmla="*/ 0 h 2555628"/>
              <a:gd name="connsiteX81" fmla="*/ 2105508 w 2548591"/>
              <a:gd name="connsiteY81" fmla="*/ 0 h 2555628"/>
              <a:gd name="connsiteX82" fmla="*/ 2548582 w 2548591"/>
              <a:gd name="connsiteY82" fmla="*/ 444296 h 2555628"/>
              <a:gd name="connsiteX83" fmla="*/ 2548582 w 2548591"/>
              <a:gd name="connsiteY83" fmla="*/ 469597 h 2555628"/>
              <a:gd name="connsiteX84" fmla="*/ 2080281 w 2548591"/>
              <a:gd name="connsiteY84" fmla="*/ 0 h 2555628"/>
              <a:gd name="connsiteX85" fmla="*/ 2218926 w 2548591"/>
              <a:gd name="connsiteY85" fmla="*/ 0 h 2555628"/>
              <a:gd name="connsiteX86" fmla="*/ 2244153 w 2548591"/>
              <a:gd name="connsiteY86" fmla="*/ 0 h 2555628"/>
              <a:gd name="connsiteX87" fmla="*/ 2548582 w 2548591"/>
              <a:gd name="connsiteY87" fmla="*/ 305270 h 2555628"/>
              <a:gd name="connsiteX88" fmla="*/ 2548582 w 2548591"/>
              <a:gd name="connsiteY88" fmla="*/ 330570 h 2555628"/>
              <a:gd name="connsiteX89" fmla="*/ 2218926 w 2548591"/>
              <a:gd name="connsiteY89" fmla="*/ 0 h 25556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</a:cxnLst>
            <a:rect l="l" t="t" r="r" b="b"/>
            <a:pathLst>
              <a:path w="2548591" h="2555628">
                <a:moveTo>
                  <a:pt x="138643" y="1"/>
                </a:moveTo>
                <a:lnTo>
                  <a:pt x="163874" y="1"/>
                </a:lnTo>
                <a:cubicBezTo>
                  <a:pt x="163874" y="1318576"/>
                  <a:pt x="1233644" y="2391168"/>
                  <a:pt x="2548463" y="2391168"/>
                </a:cubicBezTo>
                <a:lnTo>
                  <a:pt x="2548463" y="2416472"/>
                </a:lnTo>
                <a:lnTo>
                  <a:pt x="2548590" y="2416600"/>
                </a:lnTo>
                <a:cubicBezTo>
                  <a:pt x="1219755" y="2416600"/>
                  <a:pt x="138643" y="1332503"/>
                  <a:pt x="138643" y="1"/>
                </a:cubicBezTo>
                <a:close/>
                <a:moveTo>
                  <a:pt x="0" y="1"/>
                </a:moveTo>
                <a:lnTo>
                  <a:pt x="25231" y="1"/>
                </a:lnTo>
                <a:cubicBezTo>
                  <a:pt x="25231" y="1395244"/>
                  <a:pt x="1157188" y="2530324"/>
                  <a:pt x="2548591" y="2530324"/>
                </a:cubicBezTo>
                <a:lnTo>
                  <a:pt x="2548591" y="2555628"/>
                </a:lnTo>
                <a:cubicBezTo>
                  <a:pt x="1143299" y="2555628"/>
                  <a:pt x="0" y="1409172"/>
                  <a:pt x="0" y="1"/>
                </a:cubicBezTo>
                <a:close/>
                <a:moveTo>
                  <a:pt x="277411" y="1"/>
                </a:moveTo>
                <a:lnTo>
                  <a:pt x="302642" y="1"/>
                </a:lnTo>
                <a:cubicBezTo>
                  <a:pt x="302642" y="1241907"/>
                  <a:pt x="1310229" y="2252147"/>
                  <a:pt x="2548582" y="2252147"/>
                </a:cubicBezTo>
                <a:lnTo>
                  <a:pt x="2548582" y="2277444"/>
                </a:lnTo>
                <a:cubicBezTo>
                  <a:pt x="1296205" y="2277444"/>
                  <a:pt x="277411" y="1255835"/>
                  <a:pt x="277411" y="1"/>
                </a:cubicBezTo>
                <a:close/>
                <a:moveTo>
                  <a:pt x="416054" y="1"/>
                </a:moveTo>
                <a:lnTo>
                  <a:pt x="441285" y="1"/>
                </a:lnTo>
                <a:cubicBezTo>
                  <a:pt x="441285" y="1165111"/>
                  <a:pt x="1386559" y="2113119"/>
                  <a:pt x="2548589" y="2113119"/>
                </a:cubicBezTo>
                <a:lnTo>
                  <a:pt x="2548589" y="2138423"/>
                </a:lnTo>
                <a:cubicBezTo>
                  <a:pt x="1372670" y="2138423"/>
                  <a:pt x="416054" y="1179166"/>
                  <a:pt x="416054" y="1"/>
                </a:cubicBezTo>
                <a:close/>
                <a:moveTo>
                  <a:pt x="554698" y="1"/>
                </a:moveTo>
                <a:lnTo>
                  <a:pt x="579930" y="1"/>
                </a:lnTo>
                <a:cubicBezTo>
                  <a:pt x="579930" y="1088442"/>
                  <a:pt x="1463017" y="1973963"/>
                  <a:pt x="2548462" y="1973963"/>
                </a:cubicBezTo>
                <a:lnTo>
                  <a:pt x="2548462" y="1999267"/>
                </a:lnTo>
                <a:lnTo>
                  <a:pt x="2548589" y="1999394"/>
                </a:lnTo>
                <a:cubicBezTo>
                  <a:pt x="1449127" y="1999394"/>
                  <a:pt x="554698" y="1102497"/>
                  <a:pt x="554698" y="1"/>
                </a:cubicBezTo>
                <a:close/>
                <a:moveTo>
                  <a:pt x="693468" y="0"/>
                </a:moveTo>
                <a:lnTo>
                  <a:pt x="718701" y="0"/>
                </a:lnTo>
                <a:cubicBezTo>
                  <a:pt x="718701" y="1011773"/>
                  <a:pt x="1539602" y="1834942"/>
                  <a:pt x="2548583" y="1834942"/>
                </a:cubicBezTo>
                <a:lnTo>
                  <a:pt x="2548583" y="1860239"/>
                </a:lnTo>
                <a:cubicBezTo>
                  <a:pt x="1525706" y="1860239"/>
                  <a:pt x="693468" y="1025701"/>
                  <a:pt x="693468" y="0"/>
                </a:cubicBezTo>
                <a:close/>
                <a:moveTo>
                  <a:pt x="832112" y="0"/>
                </a:moveTo>
                <a:lnTo>
                  <a:pt x="857340" y="0"/>
                </a:lnTo>
                <a:cubicBezTo>
                  <a:pt x="857340" y="935105"/>
                  <a:pt x="1616059" y="1695913"/>
                  <a:pt x="2548582" y="1695913"/>
                </a:cubicBezTo>
                <a:lnTo>
                  <a:pt x="2548582" y="1721210"/>
                </a:lnTo>
                <a:cubicBezTo>
                  <a:pt x="1602170" y="1721210"/>
                  <a:pt x="832112" y="949032"/>
                  <a:pt x="832112" y="0"/>
                </a:cubicBezTo>
                <a:close/>
                <a:moveTo>
                  <a:pt x="970758" y="0"/>
                </a:moveTo>
                <a:lnTo>
                  <a:pt x="995986" y="0"/>
                </a:lnTo>
                <a:cubicBezTo>
                  <a:pt x="995986" y="858436"/>
                  <a:pt x="1692391" y="1556758"/>
                  <a:pt x="2548463" y="1556758"/>
                </a:cubicBezTo>
                <a:lnTo>
                  <a:pt x="2548463" y="1582062"/>
                </a:lnTo>
                <a:lnTo>
                  <a:pt x="2548590" y="1582189"/>
                </a:lnTo>
                <a:cubicBezTo>
                  <a:pt x="1678628" y="1582189"/>
                  <a:pt x="970758" y="872491"/>
                  <a:pt x="970758" y="0"/>
                </a:cubicBezTo>
                <a:close/>
                <a:moveTo>
                  <a:pt x="1109529" y="0"/>
                </a:moveTo>
                <a:lnTo>
                  <a:pt x="1134764" y="0"/>
                </a:lnTo>
                <a:cubicBezTo>
                  <a:pt x="1134764" y="781767"/>
                  <a:pt x="1768975" y="1417736"/>
                  <a:pt x="2548589" y="1417736"/>
                </a:cubicBezTo>
                <a:lnTo>
                  <a:pt x="2548589" y="1443033"/>
                </a:lnTo>
                <a:cubicBezTo>
                  <a:pt x="1755086" y="1443033"/>
                  <a:pt x="1109529" y="795695"/>
                  <a:pt x="1109529" y="0"/>
                </a:cubicBezTo>
                <a:close/>
                <a:moveTo>
                  <a:pt x="1248168" y="0"/>
                </a:moveTo>
                <a:lnTo>
                  <a:pt x="1273396" y="0"/>
                </a:lnTo>
                <a:cubicBezTo>
                  <a:pt x="1273396" y="705097"/>
                  <a:pt x="1845433" y="1278708"/>
                  <a:pt x="2548583" y="1278708"/>
                </a:cubicBezTo>
                <a:lnTo>
                  <a:pt x="2548583" y="1304005"/>
                </a:lnTo>
                <a:cubicBezTo>
                  <a:pt x="1831537" y="1304005"/>
                  <a:pt x="1248168" y="719026"/>
                  <a:pt x="1248168" y="0"/>
                </a:cubicBezTo>
                <a:close/>
                <a:moveTo>
                  <a:pt x="1386813" y="0"/>
                </a:moveTo>
                <a:lnTo>
                  <a:pt x="1412041" y="0"/>
                </a:lnTo>
                <a:cubicBezTo>
                  <a:pt x="1412041" y="628428"/>
                  <a:pt x="1921890" y="1139552"/>
                  <a:pt x="2548589" y="1139552"/>
                </a:cubicBezTo>
                <a:lnTo>
                  <a:pt x="2548589" y="1164857"/>
                </a:lnTo>
                <a:lnTo>
                  <a:pt x="2548589" y="1164984"/>
                </a:lnTo>
                <a:cubicBezTo>
                  <a:pt x="1908001" y="1164984"/>
                  <a:pt x="1386813" y="642356"/>
                  <a:pt x="1386813" y="0"/>
                </a:cubicBezTo>
                <a:close/>
                <a:moveTo>
                  <a:pt x="1525579" y="0"/>
                </a:moveTo>
                <a:lnTo>
                  <a:pt x="1550814" y="0"/>
                </a:lnTo>
                <a:cubicBezTo>
                  <a:pt x="1550814" y="551759"/>
                  <a:pt x="1998468" y="1000531"/>
                  <a:pt x="2548583" y="1000531"/>
                </a:cubicBezTo>
                <a:lnTo>
                  <a:pt x="2548583" y="1025828"/>
                </a:lnTo>
                <a:cubicBezTo>
                  <a:pt x="1984452" y="1025828"/>
                  <a:pt x="1525579" y="565560"/>
                  <a:pt x="1525579" y="0"/>
                </a:cubicBezTo>
                <a:close/>
                <a:moveTo>
                  <a:pt x="1664231" y="0"/>
                </a:moveTo>
                <a:lnTo>
                  <a:pt x="1689459" y="0"/>
                </a:lnTo>
                <a:cubicBezTo>
                  <a:pt x="1689459" y="474963"/>
                  <a:pt x="2074805" y="861503"/>
                  <a:pt x="2548589" y="861503"/>
                </a:cubicBezTo>
                <a:lnTo>
                  <a:pt x="2548589" y="886800"/>
                </a:lnTo>
                <a:cubicBezTo>
                  <a:pt x="2060916" y="886800"/>
                  <a:pt x="1664231" y="489019"/>
                  <a:pt x="1664231" y="0"/>
                </a:cubicBezTo>
                <a:close/>
                <a:moveTo>
                  <a:pt x="1802870" y="0"/>
                </a:moveTo>
                <a:lnTo>
                  <a:pt x="1828097" y="0"/>
                </a:lnTo>
                <a:cubicBezTo>
                  <a:pt x="1828097" y="398295"/>
                  <a:pt x="2151263" y="722347"/>
                  <a:pt x="2548583" y="722347"/>
                </a:cubicBezTo>
                <a:lnTo>
                  <a:pt x="2548583" y="747651"/>
                </a:lnTo>
                <a:lnTo>
                  <a:pt x="2548583" y="747778"/>
                </a:lnTo>
                <a:cubicBezTo>
                  <a:pt x="2137367" y="747778"/>
                  <a:pt x="1802870" y="412350"/>
                  <a:pt x="1802870" y="0"/>
                </a:cubicBezTo>
                <a:close/>
                <a:moveTo>
                  <a:pt x="1941642" y="0"/>
                </a:moveTo>
                <a:lnTo>
                  <a:pt x="1966877" y="0"/>
                </a:lnTo>
                <a:cubicBezTo>
                  <a:pt x="1966877" y="321626"/>
                  <a:pt x="2227847" y="583321"/>
                  <a:pt x="2548589" y="583321"/>
                </a:cubicBezTo>
                <a:lnTo>
                  <a:pt x="2548589" y="608622"/>
                </a:lnTo>
                <a:cubicBezTo>
                  <a:pt x="2213831" y="608622"/>
                  <a:pt x="1941642" y="335553"/>
                  <a:pt x="1941642" y="0"/>
                </a:cubicBezTo>
                <a:close/>
                <a:moveTo>
                  <a:pt x="2080281" y="0"/>
                </a:moveTo>
                <a:lnTo>
                  <a:pt x="2105508" y="0"/>
                </a:lnTo>
                <a:cubicBezTo>
                  <a:pt x="2105508" y="244957"/>
                  <a:pt x="2304298" y="444296"/>
                  <a:pt x="2548582" y="444296"/>
                </a:cubicBezTo>
                <a:lnTo>
                  <a:pt x="2548582" y="469597"/>
                </a:lnTo>
                <a:cubicBezTo>
                  <a:pt x="2290409" y="469597"/>
                  <a:pt x="2080281" y="258885"/>
                  <a:pt x="2080281" y="0"/>
                </a:cubicBezTo>
                <a:close/>
                <a:moveTo>
                  <a:pt x="2218926" y="0"/>
                </a:moveTo>
                <a:lnTo>
                  <a:pt x="2244153" y="0"/>
                </a:lnTo>
                <a:cubicBezTo>
                  <a:pt x="2244153" y="168288"/>
                  <a:pt x="2380629" y="305270"/>
                  <a:pt x="2548582" y="305270"/>
                </a:cubicBezTo>
                <a:lnTo>
                  <a:pt x="2548582" y="330570"/>
                </a:lnTo>
                <a:cubicBezTo>
                  <a:pt x="2366866" y="330570"/>
                  <a:pt x="2218926" y="182344"/>
                  <a:pt x="2218926" y="0"/>
                </a:cubicBezTo>
                <a:close/>
              </a:path>
            </a:pathLst>
          </a:custGeom>
          <a:solidFill>
            <a:schemeClr val="bg1"/>
          </a:solidFill>
          <a:ln w="7032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endParaRPr lang="en-US"/>
          </a:p>
        </p:txBody>
      </p:sp>
      <p:sp>
        <p:nvSpPr>
          <p:cNvPr id="33" name="Image 4" descr="preencoded.png">
            <a:extLst>
              <a:ext uri="{FF2B5EF4-FFF2-40B4-BE49-F238E27FC236}">
                <a16:creationId xmlns:a16="http://schemas.microsoft.com/office/drawing/2014/main" id="{EC46DC71-C12A-96C8-3FE2-AA95AB58B349}"/>
              </a:ext>
            </a:extLst>
          </p:cNvPr>
          <p:cNvSpPr/>
          <p:nvPr/>
        </p:nvSpPr>
        <p:spPr>
          <a:xfrm>
            <a:off x="2543868" y="0"/>
            <a:ext cx="2560340" cy="2560340"/>
          </a:xfrm>
          <a:custGeom>
            <a:avLst/>
            <a:gdLst>
              <a:gd name="connsiteX0" fmla="*/ 0 w 2560340"/>
              <a:gd name="connsiteY0" fmla="*/ 2560340 h 2560340"/>
              <a:gd name="connsiteX1" fmla="*/ 2560340 w 2560340"/>
              <a:gd name="connsiteY1" fmla="*/ 0 h 2560340"/>
              <a:gd name="connsiteX2" fmla="*/ 0 w 2560340"/>
              <a:gd name="connsiteY2" fmla="*/ 0 h 2560340"/>
              <a:gd name="connsiteX3" fmla="*/ 0 w 2560340"/>
              <a:gd name="connsiteY3" fmla="*/ 2560340 h 25603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60340" h="2560340">
                <a:moveTo>
                  <a:pt x="0" y="2560340"/>
                </a:moveTo>
                <a:cubicBezTo>
                  <a:pt x="1414079" y="2560340"/>
                  <a:pt x="2560340" y="1414079"/>
                  <a:pt x="2560340" y="0"/>
                </a:cubicBezTo>
                <a:lnTo>
                  <a:pt x="0" y="0"/>
                </a:lnTo>
                <a:lnTo>
                  <a:pt x="0" y="2560340"/>
                </a:lnTo>
                <a:close/>
              </a:path>
            </a:pathLst>
          </a:custGeom>
          <a:solidFill>
            <a:schemeClr val="accent3"/>
          </a:solidFill>
          <a:ln w="7052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endParaRPr lang="en-US"/>
          </a:p>
        </p:txBody>
      </p:sp>
      <p:sp>
        <p:nvSpPr>
          <p:cNvPr id="29" name="Freeform 70">
            <a:extLst>
              <a:ext uri="{FF2B5EF4-FFF2-40B4-BE49-F238E27FC236}">
                <a16:creationId xmlns:a16="http://schemas.microsoft.com/office/drawing/2014/main" id="{AA39EF58-54F1-4AC9-1D83-2E7DEEAAEA6A}"/>
              </a:ext>
            </a:extLst>
          </p:cNvPr>
          <p:cNvSpPr>
            <a:spLocks/>
          </p:cNvSpPr>
          <p:nvPr userDrawn="1"/>
        </p:nvSpPr>
        <p:spPr bwMode="auto">
          <a:xfrm flipH="1">
            <a:off x="2535251" y="4308466"/>
            <a:ext cx="2550984" cy="2560441"/>
          </a:xfrm>
          <a:custGeom>
            <a:avLst/>
            <a:gdLst>
              <a:gd name="T0" fmla="*/ 0 w 1079"/>
              <a:gd name="T1" fmla="*/ 1083 h 1083"/>
              <a:gd name="T2" fmla="*/ 1079 w 1079"/>
              <a:gd name="T3" fmla="*/ 1083 h 1083"/>
              <a:gd name="T4" fmla="*/ 1079 w 1079"/>
              <a:gd name="T5" fmla="*/ 0 h 1083"/>
              <a:gd name="T6" fmla="*/ 0 w 1079"/>
              <a:gd name="T7" fmla="*/ 1083 h 10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079" h="1083">
                <a:moveTo>
                  <a:pt x="0" y="1083"/>
                </a:moveTo>
                <a:lnTo>
                  <a:pt x="1079" y="1083"/>
                </a:lnTo>
                <a:lnTo>
                  <a:pt x="1079" y="0"/>
                </a:lnTo>
                <a:lnTo>
                  <a:pt x="0" y="1083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31" name="Freeform 70">
            <a:extLst>
              <a:ext uri="{FF2B5EF4-FFF2-40B4-BE49-F238E27FC236}">
                <a16:creationId xmlns:a16="http://schemas.microsoft.com/office/drawing/2014/main" id="{0C320934-59CC-4123-C7C1-FEEE89F3045F}"/>
              </a:ext>
            </a:extLst>
          </p:cNvPr>
          <p:cNvSpPr>
            <a:spLocks/>
          </p:cNvSpPr>
          <p:nvPr userDrawn="1"/>
        </p:nvSpPr>
        <p:spPr bwMode="auto">
          <a:xfrm flipH="1">
            <a:off x="-10617" y="4308466"/>
            <a:ext cx="2550984" cy="2560441"/>
          </a:xfrm>
          <a:custGeom>
            <a:avLst/>
            <a:gdLst>
              <a:gd name="T0" fmla="*/ 0 w 1079"/>
              <a:gd name="T1" fmla="*/ 1083 h 1083"/>
              <a:gd name="T2" fmla="*/ 1079 w 1079"/>
              <a:gd name="T3" fmla="*/ 1083 h 1083"/>
              <a:gd name="T4" fmla="*/ 1079 w 1079"/>
              <a:gd name="T5" fmla="*/ 0 h 1083"/>
              <a:gd name="T6" fmla="*/ 0 w 1079"/>
              <a:gd name="T7" fmla="*/ 1083 h 10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079" h="1083">
                <a:moveTo>
                  <a:pt x="0" y="1083"/>
                </a:moveTo>
                <a:lnTo>
                  <a:pt x="1079" y="1083"/>
                </a:lnTo>
                <a:lnTo>
                  <a:pt x="1079" y="0"/>
                </a:lnTo>
                <a:lnTo>
                  <a:pt x="0" y="1083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285091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x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CC43996-DAC9-130F-CB05-4A8A90381D37}"/>
              </a:ext>
            </a:extLst>
          </p:cNvPr>
          <p:cNvSpPr/>
          <p:nvPr userDrawn="1"/>
        </p:nvSpPr>
        <p:spPr>
          <a:xfrm>
            <a:off x="-24064" y="3390900"/>
            <a:ext cx="12216063" cy="34671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45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A04E8AF-9DFE-7077-DB36-941F6490BA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3B58B80-D2DB-A0A1-0362-1157E90875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r>
              <a:rPr lang="en-US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62C22E6-000A-05BA-5872-EF37F029AB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48F63A3B-78C7-47BE-AE5E-E10140E0464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6AAAFB85-16C0-836A-1D0D-E65277CC341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58905" y="2392023"/>
            <a:ext cx="2596896" cy="2596896"/>
          </a:xfr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FB04BFFD-8D76-D31F-232F-38A7065ACAF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8905" y="4989515"/>
            <a:ext cx="2598737" cy="1109662"/>
          </a:xfrm>
          <a:solidFill>
            <a:schemeClr val="bg1"/>
          </a:solidFill>
        </p:spPr>
        <p:txBody>
          <a:bodyPr lIns="0" tIns="274320" rIns="0" anchor="t">
            <a:noAutofit/>
          </a:bodyPr>
          <a:lstStyle>
            <a:lvl1pPr marL="0" indent="0" algn="ctr">
              <a:spcBef>
                <a:spcPts val="0"/>
              </a:spcBef>
              <a:buNone/>
              <a:defRPr sz="1800" b="1" cap="all" baseline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75A2E03A-AFB4-3868-FAB5-A24228FA8A0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6885" y="5599755"/>
            <a:ext cx="2283472" cy="365125"/>
          </a:xfrm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3" name="Picture Placeholder 16">
            <a:extLst>
              <a:ext uri="{FF2B5EF4-FFF2-40B4-BE49-F238E27FC236}">
                <a16:creationId xmlns:a16="http://schemas.microsoft.com/office/drawing/2014/main" id="{FBADCD1B-D9E0-EA12-0DD5-22E5C60E5D6B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517361" y="2392619"/>
            <a:ext cx="2596896" cy="2596896"/>
          </a:xfr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2" name="Text Placeholder 18">
            <a:extLst>
              <a:ext uri="{FF2B5EF4-FFF2-40B4-BE49-F238E27FC236}">
                <a16:creationId xmlns:a16="http://schemas.microsoft.com/office/drawing/2014/main" id="{AD33972D-9092-4B3C-A699-07849068AF1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516747" y="4990111"/>
            <a:ext cx="2598737" cy="1109662"/>
          </a:xfrm>
          <a:solidFill>
            <a:schemeClr val="bg1"/>
          </a:solidFill>
        </p:spPr>
        <p:txBody>
          <a:bodyPr lIns="0" tIns="274320" rIns="0" anchor="t">
            <a:noAutofit/>
          </a:bodyPr>
          <a:lstStyle>
            <a:lvl1pPr marL="0" indent="0" algn="ctr">
              <a:spcBef>
                <a:spcPts val="0"/>
              </a:spcBef>
              <a:buNone/>
              <a:defRPr sz="1800" b="1" cap="all" baseline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24" name="Text Placeholder 20">
            <a:extLst>
              <a:ext uri="{FF2B5EF4-FFF2-40B4-BE49-F238E27FC236}">
                <a16:creationId xmlns:a16="http://schemas.microsoft.com/office/drawing/2014/main" id="{B54F15B1-EAC3-0113-6737-C64480876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74073" y="5600351"/>
            <a:ext cx="2283472" cy="365125"/>
          </a:xfrm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6" name="Picture Placeholder 16">
            <a:extLst>
              <a:ext uri="{FF2B5EF4-FFF2-40B4-BE49-F238E27FC236}">
                <a16:creationId xmlns:a16="http://schemas.microsoft.com/office/drawing/2014/main" id="{FCEED0A5-9A71-D54A-91FC-264BD71DDED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75817" y="2393215"/>
            <a:ext cx="2596896" cy="2596896"/>
          </a:xfr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5" name="Text Placeholder 18">
            <a:extLst>
              <a:ext uri="{FF2B5EF4-FFF2-40B4-BE49-F238E27FC236}">
                <a16:creationId xmlns:a16="http://schemas.microsoft.com/office/drawing/2014/main" id="{F44A0C74-A714-A8C2-69D2-74CAD68037A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74589" y="4990707"/>
            <a:ext cx="2598737" cy="1109662"/>
          </a:xfrm>
          <a:solidFill>
            <a:schemeClr val="bg1"/>
          </a:solidFill>
        </p:spPr>
        <p:txBody>
          <a:bodyPr lIns="0" tIns="274320" rIns="0" anchor="t">
            <a:noAutofit/>
          </a:bodyPr>
          <a:lstStyle>
            <a:lvl1pPr marL="0" indent="0" algn="ctr">
              <a:spcBef>
                <a:spcPts val="0"/>
              </a:spcBef>
              <a:buNone/>
              <a:defRPr sz="1800" b="1" cap="all" baseline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27" name="Text Placeholder 20">
            <a:extLst>
              <a:ext uri="{FF2B5EF4-FFF2-40B4-BE49-F238E27FC236}">
                <a16:creationId xmlns:a16="http://schemas.microsoft.com/office/drawing/2014/main" id="{552F4682-3F02-2A70-A285-FB2D1822A4D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32529" y="5600947"/>
            <a:ext cx="2283472" cy="365125"/>
          </a:xfrm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9" name="Picture Placeholder 16">
            <a:extLst>
              <a:ext uri="{FF2B5EF4-FFF2-40B4-BE49-F238E27FC236}">
                <a16:creationId xmlns:a16="http://schemas.microsoft.com/office/drawing/2014/main" id="{4F0F5D16-7316-B120-F378-E3D492FEEB9C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9034272" y="2393215"/>
            <a:ext cx="2596896" cy="2596896"/>
          </a:xfr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8" name="Text Placeholder 18">
            <a:extLst>
              <a:ext uri="{FF2B5EF4-FFF2-40B4-BE49-F238E27FC236}">
                <a16:creationId xmlns:a16="http://schemas.microsoft.com/office/drawing/2014/main" id="{47AC9724-9FC2-62FA-0DE7-3F9FE9B67A3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32431" y="4990707"/>
            <a:ext cx="2598737" cy="1109662"/>
          </a:xfrm>
          <a:solidFill>
            <a:schemeClr val="bg1"/>
          </a:solidFill>
        </p:spPr>
        <p:txBody>
          <a:bodyPr lIns="0" tIns="274320" rIns="0" anchor="t">
            <a:noAutofit/>
          </a:bodyPr>
          <a:lstStyle>
            <a:lvl1pPr marL="0" indent="0" algn="ctr">
              <a:spcBef>
                <a:spcPts val="0"/>
              </a:spcBef>
              <a:buNone/>
              <a:defRPr sz="1800" b="1" cap="all" baseline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30" name="Text Placeholder 20">
            <a:extLst>
              <a:ext uri="{FF2B5EF4-FFF2-40B4-BE49-F238E27FC236}">
                <a16:creationId xmlns:a16="http://schemas.microsoft.com/office/drawing/2014/main" id="{114EE337-FC29-F325-E528-A3F809B28B5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190984" y="5600947"/>
            <a:ext cx="2283472" cy="365125"/>
          </a:xfrm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258665376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x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04E8AF-9DFE-7077-DB36-941F6490BA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8952" y="539496"/>
            <a:ext cx="10671048" cy="768096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3B58B80-D2DB-A0A1-0362-1157E90875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r>
              <a:rPr lang="en-US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62C22E6-000A-05BA-5872-EF37F029AB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48F63A3B-78C7-47BE-AE5E-E10140E0464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6AAAFB85-16C0-836A-1D0D-E65277CC341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271016" y="1545336"/>
            <a:ext cx="2029968" cy="1828800"/>
          </a:xfr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FB04BFFD-8D76-D31F-232F-38A7065ACAF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71016" y="3191256"/>
            <a:ext cx="2029968" cy="694944"/>
          </a:xfrm>
          <a:solidFill>
            <a:schemeClr val="accent4"/>
          </a:solidFill>
        </p:spPr>
        <p:txBody>
          <a:bodyPr lIns="0" tIns="155448" rIns="0" anchor="t">
            <a:noAutofit/>
          </a:bodyPr>
          <a:lstStyle>
            <a:lvl1pPr marL="0" indent="0" algn="ctr">
              <a:spcBef>
                <a:spcPts val="0"/>
              </a:spcBef>
              <a:buNone/>
              <a:defRPr sz="1400" b="1" cap="all" spc="20" baseline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75A2E03A-AFB4-3868-FAB5-A24228FA8A0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71016" y="3616960"/>
            <a:ext cx="2029968" cy="182880"/>
          </a:xfrm>
        </p:spPr>
        <p:txBody>
          <a:bodyPr anchor="ctr">
            <a:noAutofit/>
          </a:bodyPr>
          <a:lstStyle>
            <a:lvl1pPr marL="0" indent="0" algn="ctr">
              <a:buNone/>
              <a:defRPr sz="1200" spc="20" baseline="0"/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0" name="Picture Placeholder 16">
            <a:extLst>
              <a:ext uri="{FF2B5EF4-FFF2-40B4-BE49-F238E27FC236}">
                <a16:creationId xmlns:a16="http://schemas.microsoft.com/office/drawing/2014/main" id="{BB749B9A-080F-37C0-08E6-909A5DA554D4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1271016" y="4144264"/>
            <a:ext cx="2029968" cy="1828800"/>
          </a:xfr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4" name="Text Placeholder 18">
            <a:extLst>
              <a:ext uri="{FF2B5EF4-FFF2-40B4-BE49-F238E27FC236}">
                <a16:creationId xmlns:a16="http://schemas.microsoft.com/office/drawing/2014/main" id="{C4C7516E-0853-87BE-108B-697DD8E0DA7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271016" y="5790184"/>
            <a:ext cx="2029968" cy="694944"/>
          </a:xfrm>
          <a:solidFill>
            <a:schemeClr val="accent1"/>
          </a:solidFill>
        </p:spPr>
        <p:txBody>
          <a:bodyPr lIns="0" tIns="155448" rIns="0" anchor="t">
            <a:noAutofit/>
          </a:bodyPr>
          <a:lstStyle>
            <a:lvl1pPr marL="0" indent="0" algn="ctr">
              <a:spcBef>
                <a:spcPts val="0"/>
              </a:spcBef>
              <a:buNone/>
              <a:defRPr sz="1400" b="1" cap="all" spc="20" baseline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15" name="Text Placeholder 20">
            <a:extLst>
              <a:ext uri="{FF2B5EF4-FFF2-40B4-BE49-F238E27FC236}">
                <a16:creationId xmlns:a16="http://schemas.microsoft.com/office/drawing/2014/main" id="{FB1A74E1-7CEB-F501-F998-7361A20F734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271016" y="6215888"/>
            <a:ext cx="2029968" cy="182880"/>
          </a:xfrm>
        </p:spPr>
        <p:txBody>
          <a:bodyPr anchor="ctr">
            <a:noAutofit/>
          </a:bodyPr>
          <a:lstStyle>
            <a:lvl1pPr marL="0" indent="0" algn="ctr">
              <a:buNone/>
              <a:defRPr sz="1200" spc="20" baseline="0"/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3" name="Picture Placeholder 16">
            <a:extLst>
              <a:ext uri="{FF2B5EF4-FFF2-40B4-BE49-F238E27FC236}">
                <a16:creationId xmlns:a16="http://schemas.microsoft.com/office/drawing/2014/main" id="{FBADCD1B-D9E0-EA12-0DD5-22E5C60E5D6B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828288" y="1545336"/>
            <a:ext cx="2029968" cy="1828800"/>
          </a:xfr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2" name="Text Placeholder 18">
            <a:extLst>
              <a:ext uri="{FF2B5EF4-FFF2-40B4-BE49-F238E27FC236}">
                <a16:creationId xmlns:a16="http://schemas.microsoft.com/office/drawing/2014/main" id="{AD33972D-9092-4B3C-A699-07849068AF1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28288" y="3191256"/>
            <a:ext cx="2029968" cy="694944"/>
          </a:xfrm>
          <a:solidFill>
            <a:schemeClr val="accent1"/>
          </a:solidFill>
        </p:spPr>
        <p:txBody>
          <a:bodyPr lIns="0" tIns="155448" rIns="0" anchor="t">
            <a:noAutofit/>
          </a:bodyPr>
          <a:lstStyle>
            <a:lvl1pPr marL="0" indent="0" algn="ctr">
              <a:spcBef>
                <a:spcPts val="0"/>
              </a:spcBef>
              <a:buNone/>
              <a:defRPr sz="1400" b="1" cap="all" spc="20" baseline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24" name="Text Placeholder 20">
            <a:extLst>
              <a:ext uri="{FF2B5EF4-FFF2-40B4-BE49-F238E27FC236}">
                <a16:creationId xmlns:a16="http://schemas.microsoft.com/office/drawing/2014/main" id="{B54F15B1-EAC3-0113-6737-C64480876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28288" y="3616960"/>
            <a:ext cx="2029968" cy="182880"/>
          </a:xfrm>
        </p:spPr>
        <p:txBody>
          <a:bodyPr anchor="ctr">
            <a:noAutofit/>
          </a:bodyPr>
          <a:lstStyle>
            <a:lvl1pPr marL="0" indent="0" algn="ctr">
              <a:buNone/>
              <a:defRPr sz="1200" spc="20" baseline="0"/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1" name="Picture Placeholder 16">
            <a:extLst>
              <a:ext uri="{FF2B5EF4-FFF2-40B4-BE49-F238E27FC236}">
                <a16:creationId xmlns:a16="http://schemas.microsoft.com/office/drawing/2014/main" id="{B5D5100A-3D51-45DB-3A84-9E7FB85261E3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828288" y="4144264"/>
            <a:ext cx="2029968" cy="1828800"/>
          </a:xfr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6" name="Text Placeholder 18">
            <a:extLst>
              <a:ext uri="{FF2B5EF4-FFF2-40B4-BE49-F238E27FC236}">
                <a16:creationId xmlns:a16="http://schemas.microsoft.com/office/drawing/2014/main" id="{B775B771-678A-D917-7FE0-5DA7A23CCE2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828288" y="5790184"/>
            <a:ext cx="2029968" cy="694944"/>
          </a:xfrm>
          <a:solidFill>
            <a:schemeClr val="accent4"/>
          </a:solidFill>
        </p:spPr>
        <p:txBody>
          <a:bodyPr lIns="0" tIns="155448" rIns="0" anchor="t">
            <a:noAutofit/>
          </a:bodyPr>
          <a:lstStyle>
            <a:lvl1pPr marL="0" indent="0" algn="ctr">
              <a:spcBef>
                <a:spcPts val="0"/>
              </a:spcBef>
              <a:buNone/>
              <a:defRPr sz="1400" b="1" cap="all" spc="20" baseline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18" name="Text Placeholder 20">
            <a:extLst>
              <a:ext uri="{FF2B5EF4-FFF2-40B4-BE49-F238E27FC236}">
                <a16:creationId xmlns:a16="http://schemas.microsoft.com/office/drawing/2014/main" id="{AA2B9540-B92A-AD9C-C01A-B08A98BF845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828288" y="6215888"/>
            <a:ext cx="2029968" cy="182880"/>
          </a:xfrm>
        </p:spPr>
        <p:txBody>
          <a:bodyPr anchor="ctr">
            <a:noAutofit/>
          </a:bodyPr>
          <a:lstStyle>
            <a:lvl1pPr marL="0" indent="0" algn="ctr">
              <a:buNone/>
              <a:defRPr sz="1200" spc="20" baseline="0"/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6" name="Picture Placeholder 16">
            <a:extLst>
              <a:ext uri="{FF2B5EF4-FFF2-40B4-BE49-F238E27FC236}">
                <a16:creationId xmlns:a16="http://schemas.microsoft.com/office/drawing/2014/main" id="{FCEED0A5-9A71-D54A-91FC-264BD71DDED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385560" y="1545336"/>
            <a:ext cx="2029968" cy="1828800"/>
          </a:xfr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5" name="Text Placeholder 18">
            <a:extLst>
              <a:ext uri="{FF2B5EF4-FFF2-40B4-BE49-F238E27FC236}">
                <a16:creationId xmlns:a16="http://schemas.microsoft.com/office/drawing/2014/main" id="{F44A0C74-A714-A8C2-69D2-74CAD68037A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385560" y="3191256"/>
            <a:ext cx="2029968" cy="694944"/>
          </a:xfrm>
          <a:solidFill>
            <a:schemeClr val="accent4"/>
          </a:solidFill>
        </p:spPr>
        <p:txBody>
          <a:bodyPr lIns="0" tIns="155448" rIns="0" anchor="t">
            <a:noAutofit/>
          </a:bodyPr>
          <a:lstStyle>
            <a:lvl1pPr marL="0" indent="0" algn="ctr">
              <a:spcBef>
                <a:spcPts val="0"/>
              </a:spcBef>
              <a:buNone/>
              <a:defRPr sz="1400" b="1" cap="all" spc="20" baseline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27" name="Text Placeholder 20">
            <a:extLst>
              <a:ext uri="{FF2B5EF4-FFF2-40B4-BE49-F238E27FC236}">
                <a16:creationId xmlns:a16="http://schemas.microsoft.com/office/drawing/2014/main" id="{552F4682-3F02-2A70-A285-FB2D1822A4D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385560" y="3616960"/>
            <a:ext cx="2029968" cy="182880"/>
          </a:xfrm>
        </p:spPr>
        <p:txBody>
          <a:bodyPr anchor="ctr">
            <a:noAutofit/>
          </a:bodyPr>
          <a:lstStyle>
            <a:lvl1pPr marL="0" indent="0" algn="ctr">
              <a:buNone/>
              <a:defRPr sz="1200" spc="20" baseline="0"/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2" name="Picture Placeholder 16">
            <a:extLst>
              <a:ext uri="{FF2B5EF4-FFF2-40B4-BE49-F238E27FC236}">
                <a16:creationId xmlns:a16="http://schemas.microsoft.com/office/drawing/2014/main" id="{3D2AAC25-9404-1F6F-200C-5660F4995858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6385560" y="4144264"/>
            <a:ext cx="2029968" cy="1828800"/>
          </a:xfr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0" name="Text Placeholder 18">
            <a:extLst>
              <a:ext uri="{FF2B5EF4-FFF2-40B4-BE49-F238E27FC236}">
                <a16:creationId xmlns:a16="http://schemas.microsoft.com/office/drawing/2014/main" id="{AE4677E1-AC1B-AB9C-5E0C-794903DD1CE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385560" y="5790184"/>
            <a:ext cx="2029968" cy="694944"/>
          </a:xfrm>
          <a:solidFill>
            <a:schemeClr val="accent1"/>
          </a:solidFill>
        </p:spPr>
        <p:txBody>
          <a:bodyPr lIns="0" tIns="155448" rIns="0" anchor="t">
            <a:noAutofit/>
          </a:bodyPr>
          <a:lstStyle>
            <a:lvl1pPr marL="0" indent="0" algn="ctr">
              <a:spcBef>
                <a:spcPts val="0"/>
              </a:spcBef>
              <a:buNone/>
              <a:defRPr sz="1400" b="1" cap="all" spc="20" baseline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31" name="Text Placeholder 20">
            <a:extLst>
              <a:ext uri="{FF2B5EF4-FFF2-40B4-BE49-F238E27FC236}">
                <a16:creationId xmlns:a16="http://schemas.microsoft.com/office/drawing/2014/main" id="{826BBF6C-7198-3C15-CDCB-E72B08709C1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385560" y="6215888"/>
            <a:ext cx="2029968" cy="182880"/>
          </a:xfrm>
        </p:spPr>
        <p:txBody>
          <a:bodyPr anchor="ctr">
            <a:noAutofit/>
          </a:bodyPr>
          <a:lstStyle>
            <a:lvl1pPr marL="0" indent="0" algn="ctr">
              <a:buNone/>
              <a:defRPr sz="1200" spc="20" baseline="0"/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9" name="Picture Placeholder 16">
            <a:extLst>
              <a:ext uri="{FF2B5EF4-FFF2-40B4-BE49-F238E27FC236}">
                <a16:creationId xmlns:a16="http://schemas.microsoft.com/office/drawing/2014/main" id="{4F0F5D16-7316-B120-F378-E3D492FEEB9C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8942832" y="1545336"/>
            <a:ext cx="2029968" cy="1828800"/>
          </a:xfr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8" name="Text Placeholder 18">
            <a:extLst>
              <a:ext uri="{FF2B5EF4-FFF2-40B4-BE49-F238E27FC236}">
                <a16:creationId xmlns:a16="http://schemas.microsoft.com/office/drawing/2014/main" id="{47AC9724-9FC2-62FA-0DE7-3F9FE9B67A3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942832" y="3191256"/>
            <a:ext cx="2029968" cy="694944"/>
          </a:xfrm>
          <a:solidFill>
            <a:schemeClr val="accent1"/>
          </a:solidFill>
        </p:spPr>
        <p:txBody>
          <a:bodyPr lIns="0" tIns="155448" rIns="0" anchor="t">
            <a:noAutofit/>
          </a:bodyPr>
          <a:lstStyle>
            <a:lvl1pPr marL="0" indent="0" algn="ctr">
              <a:spcBef>
                <a:spcPts val="0"/>
              </a:spcBef>
              <a:buNone/>
              <a:defRPr sz="1400" b="1" cap="all" spc="20" baseline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30" name="Text Placeholder 20">
            <a:extLst>
              <a:ext uri="{FF2B5EF4-FFF2-40B4-BE49-F238E27FC236}">
                <a16:creationId xmlns:a16="http://schemas.microsoft.com/office/drawing/2014/main" id="{114EE337-FC29-F325-E528-A3F809B28B5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942832" y="3616960"/>
            <a:ext cx="2029968" cy="182880"/>
          </a:xfrm>
        </p:spPr>
        <p:txBody>
          <a:bodyPr anchor="ctr">
            <a:noAutofit/>
          </a:bodyPr>
          <a:lstStyle>
            <a:lvl1pPr marL="0" indent="0" algn="ctr">
              <a:buNone/>
              <a:defRPr sz="1200" spc="20" baseline="0"/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3" name="Picture Placeholder 16">
            <a:extLst>
              <a:ext uri="{FF2B5EF4-FFF2-40B4-BE49-F238E27FC236}">
                <a16:creationId xmlns:a16="http://schemas.microsoft.com/office/drawing/2014/main" id="{90CBAA5D-3D9B-0CB5-E527-996433638BE3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8942832" y="4144264"/>
            <a:ext cx="2029968" cy="1828800"/>
          </a:xfr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2" name="Text Placeholder 18">
            <a:extLst>
              <a:ext uri="{FF2B5EF4-FFF2-40B4-BE49-F238E27FC236}">
                <a16:creationId xmlns:a16="http://schemas.microsoft.com/office/drawing/2014/main" id="{5B47333C-2F5E-FA7D-5DD1-191E0F421B61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942832" y="5790184"/>
            <a:ext cx="2029968" cy="694944"/>
          </a:xfrm>
          <a:solidFill>
            <a:schemeClr val="accent4"/>
          </a:solidFill>
        </p:spPr>
        <p:txBody>
          <a:bodyPr lIns="0" tIns="155448" rIns="0" anchor="t">
            <a:noAutofit/>
          </a:bodyPr>
          <a:lstStyle>
            <a:lvl1pPr marL="0" indent="0" algn="ctr">
              <a:spcBef>
                <a:spcPts val="0"/>
              </a:spcBef>
              <a:buNone/>
              <a:defRPr sz="1400" b="1" cap="all" spc="20" baseline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33" name="Text Placeholder 20">
            <a:extLst>
              <a:ext uri="{FF2B5EF4-FFF2-40B4-BE49-F238E27FC236}">
                <a16:creationId xmlns:a16="http://schemas.microsoft.com/office/drawing/2014/main" id="{D0AA2AE2-5A11-76D4-4D9C-B6B24D1419D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942832" y="6215888"/>
            <a:ext cx="2029968" cy="182880"/>
          </a:xfrm>
        </p:spPr>
        <p:txBody>
          <a:bodyPr anchor="ctr">
            <a:noAutofit/>
          </a:bodyPr>
          <a:lstStyle>
            <a:lvl1pPr marL="0" indent="0" algn="ctr">
              <a:buNone/>
              <a:defRPr sz="1200" spc="20" baseline="0"/>
            </a:lvl1pPr>
          </a:lstStyle>
          <a:p>
            <a:pPr lvl="0"/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190070913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C6710EB0-7FD3-AB13-D4DD-B86997E9A1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13568240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404" imgH="405" progId="TCLayout.ActiveDocument.1">
                  <p:embed/>
                </p:oleObj>
              </mc:Choice>
              <mc:Fallback>
                <p:oleObj name="think-cell Slide" r:id="rId23" imgW="404" imgH="405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6710EB0-7FD3-AB13-D4DD-B86997E9A1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58952" y="1216152"/>
            <a:ext cx="10671048" cy="76809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58952" y="2103120"/>
            <a:ext cx="10671048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21792" y="457200"/>
            <a:ext cx="3200400" cy="2743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945368" y="457200"/>
            <a:ext cx="987552" cy="2743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8334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63" r:id="rId2"/>
    <p:sldLayoutId id="2147483652" r:id="rId3"/>
    <p:sldLayoutId id="2147483653" r:id="rId4"/>
    <p:sldLayoutId id="2147483664" r:id="rId5"/>
    <p:sldLayoutId id="2147483667" r:id="rId6"/>
    <p:sldLayoutId id="2147483668" r:id="rId7"/>
    <p:sldLayoutId id="2147483669" r:id="rId8"/>
    <p:sldLayoutId id="2147483673" r:id="rId9"/>
    <p:sldLayoutId id="2147483670" r:id="rId10"/>
    <p:sldLayoutId id="2147483671" r:id="rId11"/>
    <p:sldLayoutId id="2147483655" r:id="rId12"/>
    <p:sldLayoutId id="2147483674" r:id="rId13"/>
    <p:sldLayoutId id="2147483675" r:id="rId14"/>
    <p:sldLayoutId id="2147483676" r:id="rId15"/>
    <p:sldLayoutId id="2147483654" r:id="rId16"/>
    <p:sldLayoutId id="2147483656" r:id="rId17"/>
    <p:sldLayoutId id="2147483657" r:id="rId18"/>
    <p:sldLayoutId id="2147483658" r:id="rId19"/>
    <p:sldLayoutId id="2147483659" r:id="rId20"/>
  </p:sldLayoutIdLst>
  <p:hf hdr="0" dt="0"/>
  <p:txStyles>
    <p:titleStyle>
      <a:lvl1pPr algn="ctr" defTabSz="914400" rtl="0" eaLnBrk="1" latinLnBrk="0" hangingPunct="1">
        <a:lnSpc>
          <a:spcPts val="4875"/>
        </a:lnSpc>
        <a:spcBef>
          <a:spcPct val="0"/>
        </a:spcBef>
        <a:buNone/>
        <a:defRPr sz="4400" b="1" kern="1200" cap="all" baseline="0">
          <a:solidFill>
            <a:schemeClr val="accent6"/>
          </a:solidFill>
          <a:latin typeface="+mj-lt"/>
          <a:ea typeface="+mj-ea"/>
          <a:cs typeface="+mj-cs"/>
        </a:defRPr>
      </a:lvl1pPr>
    </p:titleStyle>
    <p:bodyStyle>
      <a:lvl1pPr marL="347472" indent="-347472" algn="l" defTabSz="914400" rtl="0" eaLnBrk="1" latinLnBrk="0" hangingPunct="1">
        <a:lnSpc>
          <a:spcPct val="100000"/>
        </a:lnSpc>
        <a:spcBef>
          <a:spcPts val="360"/>
        </a:spcBef>
        <a:buFont typeface="Arial" panose="020B0604020202020204" pitchFamily="34" charset="0"/>
        <a:buChar char="•"/>
        <a:defRPr sz="2800" kern="1200">
          <a:solidFill>
            <a:schemeClr val="accent6"/>
          </a:solidFill>
          <a:latin typeface="+mn-lt"/>
          <a:ea typeface="+mn-ea"/>
          <a:cs typeface="+mn-cs"/>
        </a:defRPr>
      </a:lvl1pPr>
      <a:lvl2pPr marL="685800" indent="-347472" algn="l" defTabSz="914400" rtl="0" eaLnBrk="1" latinLnBrk="0" hangingPunct="1">
        <a:lnSpc>
          <a:spcPct val="100000"/>
        </a:lnSpc>
        <a:spcBef>
          <a:spcPts val="360"/>
        </a:spcBef>
        <a:buFont typeface="Arial" panose="020B0604020202020204" pitchFamily="34" charset="0"/>
        <a:buChar char="•"/>
        <a:defRPr sz="2400" kern="1200">
          <a:solidFill>
            <a:schemeClr val="accent6"/>
          </a:solidFill>
          <a:latin typeface="+mn-lt"/>
          <a:ea typeface="+mn-ea"/>
          <a:cs typeface="+mn-cs"/>
        </a:defRPr>
      </a:lvl2pPr>
      <a:lvl3pPr marL="1143000" indent="-347472" algn="l" defTabSz="914400" rtl="0" eaLnBrk="1" latinLnBrk="0" hangingPunct="1">
        <a:lnSpc>
          <a:spcPct val="100000"/>
        </a:lnSpc>
        <a:spcBef>
          <a:spcPts val="360"/>
        </a:spcBef>
        <a:buFont typeface="Arial" panose="020B0604020202020204" pitchFamily="34" charset="0"/>
        <a:buChar char="•"/>
        <a:defRPr sz="2000" kern="1200">
          <a:solidFill>
            <a:schemeClr val="accent6"/>
          </a:solidFill>
          <a:latin typeface="+mn-lt"/>
          <a:ea typeface="+mn-ea"/>
          <a:cs typeface="+mn-cs"/>
        </a:defRPr>
      </a:lvl3pPr>
      <a:lvl4pPr marL="1600200" indent="-347472" algn="l" defTabSz="914400" rtl="0" eaLnBrk="1" latinLnBrk="0" hangingPunct="1">
        <a:lnSpc>
          <a:spcPct val="100000"/>
        </a:lnSpc>
        <a:spcBef>
          <a:spcPts val="360"/>
        </a:spcBef>
        <a:buFont typeface="Arial" panose="020B0604020202020204" pitchFamily="34" charset="0"/>
        <a:buChar char="•"/>
        <a:defRPr sz="1800" kern="1200">
          <a:solidFill>
            <a:schemeClr val="accent6"/>
          </a:solidFill>
          <a:latin typeface="+mn-lt"/>
          <a:ea typeface="+mn-ea"/>
          <a:cs typeface="+mn-cs"/>
        </a:defRPr>
      </a:lvl4pPr>
      <a:lvl5pPr marL="2057400" indent="-347472" algn="l" defTabSz="914400" rtl="0" eaLnBrk="1" latinLnBrk="0" hangingPunct="1">
        <a:lnSpc>
          <a:spcPct val="100000"/>
        </a:lnSpc>
        <a:spcBef>
          <a:spcPts val="360"/>
        </a:spcBef>
        <a:buFont typeface="Arial" panose="020B0604020202020204" pitchFamily="34" charset="0"/>
        <a:buChar char="•"/>
        <a:defRPr sz="180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hyperlink" Target="https://simplemaps.com/data/us-cities" TargetMode="Externa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4.xml"/><Relationship Id="rId6" Type="http://schemas.openxmlformats.org/officeDocument/2006/relationships/hyperlink" Target="https://www.kaggle.com/datasets/mohithsairamreddy/salary-data" TargetMode="External"/><Relationship Id="rId5" Type="http://schemas.openxmlformats.org/officeDocument/2006/relationships/hyperlink" Target="https://www.kaggle.com/code/yashvi/data-analyst-jobs-visualization" TargetMode="External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5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6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.xml"/><Relationship Id="rId5" Type="http://schemas.openxmlformats.org/officeDocument/2006/relationships/hyperlink" Target="https://project-3-data-visuals.onrender.com/" TargetMode="External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F5E1A270-389B-A4EF-8989-F7B6BDB7012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054294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5E1A270-389B-A4EF-8989-F7B6BDB701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16860D9-9D47-C0BB-B2B4-4B6F2B36CFC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/>
              <a:t>Project 3</a:t>
            </a:r>
            <a:br>
              <a:rPr lang="en-US"/>
            </a:b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6C1060B-300F-3CE3-E5AA-D8E29791C96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977224" y="3300983"/>
            <a:ext cx="4368754" cy="1495461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Nick Carson, Trevor Baum, Mamatha Etikyala, Tamara </a:t>
            </a:r>
            <a:r>
              <a:rPr lang="en-US" err="1"/>
              <a:t>Hundich</a:t>
            </a:r>
            <a:r>
              <a:rPr lang="en-US"/>
              <a:t>, Swati </a:t>
            </a:r>
            <a:r>
              <a:rPr lang="en-US" err="1"/>
              <a:t>Kallepalli</a:t>
            </a:r>
            <a:r>
              <a:rPr lang="en-US"/>
              <a:t>, </a:t>
            </a:r>
            <a:r>
              <a:rPr lang="en-US" err="1"/>
              <a:t>Shivantika</a:t>
            </a:r>
            <a:r>
              <a:rPr lang="en-US"/>
              <a:t> Bisen,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156849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305BD34-D775-BF02-EB99-1CC50B8564C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870842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305BD34-D775-BF02-EB99-1CC50B8564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415D2F2-4821-EBED-8491-2A3845B4C7D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7047" y="1975104"/>
            <a:ext cx="4882065" cy="667512"/>
          </a:xfrm>
        </p:spPr>
        <p:txBody>
          <a:bodyPr vert="horz"/>
          <a:lstStyle/>
          <a:p>
            <a:r>
              <a:rPr lang="en-US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105746547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C565E9-D88A-55D3-9D42-BD1C24B6DE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b="1">
                <a:solidFill>
                  <a:schemeClr val="accent6"/>
                </a:solidFill>
                <a:latin typeface="Arial Black" panose="020B0604020202020204" pitchFamily="34" charset="0"/>
                <a:ea typeface="Arial Regular" pitchFamily="34" charset="-122"/>
                <a:cs typeface="Arial Black" panose="020B0604020202020204" pitchFamily="34" charset="0"/>
              </a:rPr>
              <a:t>AGENDA</a:t>
            </a:r>
            <a:endParaRPr lang="en-US" sz="4400" b="1">
              <a:solidFill>
                <a:schemeClr val="accent6"/>
              </a:solidFill>
              <a:latin typeface="Arial Black" panose="020B0604020202020204" pitchFamily="34" charset="0"/>
              <a:cs typeface="Arial Black" panose="020B06040202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D1F66E5-D2D7-172B-46BA-FEBFE092CC7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en-US"/>
              <a:t>Summary</a:t>
            </a:r>
          </a:p>
          <a:p>
            <a:pPr marL="457200" indent="-457200">
              <a:buFont typeface="+mj-lt"/>
              <a:buAutoNum type="arabicPeriod"/>
            </a:pPr>
            <a:r>
              <a:rPr lang="en-US"/>
              <a:t>Back End Process</a:t>
            </a:r>
          </a:p>
          <a:p>
            <a:pPr marL="457200" indent="-457200">
              <a:buFont typeface="+mj-lt"/>
              <a:buAutoNum type="arabicPeriod"/>
            </a:pPr>
            <a:r>
              <a:rPr lang="en-US"/>
              <a:t>Front End Process</a:t>
            </a:r>
          </a:p>
          <a:p>
            <a:pPr marL="457200" indent="-457200">
              <a:buFont typeface="+mj-lt"/>
              <a:buAutoNum type="arabicPeriod"/>
            </a:pPr>
            <a:r>
              <a:rPr lang="en-US"/>
              <a:t>Demo</a:t>
            </a:r>
          </a:p>
          <a:p>
            <a:pPr marL="457200" indent="-457200">
              <a:buFont typeface="+mj-lt"/>
              <a:buAutoNum type="arabicPeriod"/>
            </a:pPr>
            <a:r>
              <a:rPr lang="en-US"/>
              <a:t>Conclusion</a:t>
            </a:r>
          </a:p>
          <a:p>
            <a:pPr marL="457200" indent="-457200">
              <a:buFont typeface="+mj-lt"/>
              <a:buAutoNum type="arabicPeriod"/>
            </a:pPr>
            <a:endParaRPr lang="en-US">
              <a:highlight>
                <a:srgbClr val="FFFF00"/>
              </a:highlight>
            </a:endParaRPr>
          </a:p>
          <a:p>
            <a:r>
              <a:rPr lang="en-US">
                <a:highlight>
                  <a:srgbClr val="FFFF00"/>
                </a:highlight>
              </a:rPr>
              <a:t>​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553180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3F7D2E-080D-DBDD-73C4-3C38A2B779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UMMARY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BE8FDE3-DBA4-6A04-C75D-E56FE92EF36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08759" y="2837688"/>
            <a:ext cx="7194665" cy="2490770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Researched the data analytics and data engineering field to get a better understanding of opportunities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Investigated the average salaries and how they correlate to people’s education level and years of experienc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Discovered what job titles had the most availability, along with what sectors of  industry they fall into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Reviewed top cities that had the most job availability in the data analytics and engineering field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>
              <a:highlight>
                <a:srgbClr val="FFFF00"/>
              </a:highlight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>
              <a:highlight>
                <a:srgbClr val="FFFF00"/>
              </a:highlight>
            </a:endParaRP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81817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E432C08-AED6-FE8E-1499-804702B7437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08449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E432C08-AED6-FE8E-1499-804702B743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83F7D2E-080D-DBDD-73C4-3C38A2B7790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/>
              <a:t>Resources</a:t>
            </a:r>
            <a:br>
              <a:rPr lang="en-US"/>
            </a:br>
            <a:r>
              <a:rPr lang="en-US"/>
              <a:t>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BE8FDE3-DBA4-6A04-C75D-E56FE92EF36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>
              <a:highlight>
                <a:srgbClr val="FFFF00"/>
              </a:highlight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>
              <a:highlight>
                <a:srgbClr val="FFFF00"/>
              </a:highlight>
            </a:endParaRPr>
          </a:p>
          <a:p>
            <a:endParaRPr lang="en-US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4DF305B7-28A1-DFC3-A518-80C0B8B35452}"/>
              </a:ext>
            </a:extLst>
          </p:cNvPr>
          <p:cNvSpPr txBox="1">
            <a:spLocks/>
          </p:cNvSpPr>
          <p:nvPr/>
        </p:nvSpPr>
        <p:spPr>
          <a:xfrm>
            <a:off x="858077" y="2308860"/>
            <a:ext cx="7475308" cy="345329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60"/>
              </a:spcBef>
              <a:buFont typeface="Arial" panose="020B0604020202020204" pitchFamily="34" charset="0"/>
              <a:buNone/>
              <a:defRPr sz="15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685800" indent="-347472" algn="l" defTabSz="914400" rtl="0" eaLnBrk="1" latinLnBrk="0" hangingPunct="1">
              <a:lnSpc>
                <a:spcPct val="100000"/>
              </a:lnSpc>
              <a:spcBef>
                <a:spcPts val="36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1143000" indent="-347472" algn="l" defTabSz="914400" rtl="0" eaLnBrk="1" latinLnBrk="0" hangingPunct="1">
              <a:lnSpc>
                <a:spcPct val="100000"/>
              </a:lnSpc>
              <a:spcBef>
                <a:spcPts val="36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1600200" indent="-347472" algn="l" defTabSz="914400" rtl="0" eaLnBrk="1" latinLnBrk="0" hangingPunct="1">
              <a:lnSpc>
                <a:spcPct val="100000"/>
              </a:lnSpc>
              <a:spcBef>
                <a:spcPts val="36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2057400" indent="-347472" algn="l" defTabSz="914400" rtl="0" eaLnBrk="1" latinLnBrk="0" hangingPunct="1">
              <a:lnSpc>
                <a:spcPct val="100000"/>
              </a:lnSpc>
              <a:spcBef>
                <a:spcPts val="36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>
                <a:hlinkClick r:id="rId5"/>
              </a:rPr>
              <a:t>https://www.kaggle.com/code/yashvi/data-analyst-jobs-visualization</a:t>
            </a:r>
            <a:r>
              <a:rPr lang="en-US" b="1"/>
              <a:t> </a:t>
            </a:r>
          </a:p>
          <a:p>
            <a:pPr marL="971550" lvl="1" indent="-285750"/>
            <a:r>
              <a:rPr lang="en-US"/>
              <a:t>Created by </a:t>
            </a:r>
            <a:r>
              <a:rPr lang="en-US" err="1"/>
              <a:t>Picklesueat</a:t>
            </a:r>
            <a:r>
              <a:rPr lang="en-US"/>
              <a:t> and contains more than 2000 job listings for data analyst positions, with features such as: Salary Estimate Location Company Rating Job Description and more</a:t>
            </a:r>
            <a:endParaRPr lang="en-US">
              <a:cs typeface="Sabon Next LT"/>
            </a:endParaRPr>
          </a:p>
          <a:p>
            <a:pPr marL="285750" indent="-285750"/>
            <a:r>
              <a:rPr lang="en-US" b="1">
                <a:hlinkClick r:id="rId6"/>
              </a:rPr>
              <a:t>https://www.kaggle.com/datasets/mohithsairamreddy/salary-data</a:t>
            </a:r>
            <a:r>
              <a:rPr lang="en-US" b="1"/>
              <a:t> </a:t>
            </a:r>
            <a:endParaRPr lang="en-US" b="1">
              <a:cs typeface="Sabon Next LT"/>
            </a:endParaRPr>
          </a:p>
          <a:p>
            <a:pPr marL="971550" lvl="1" indent="-285750"/>
            <a:r>
              <a:rPr lang="en-US"/>
              <a:t>Includes multiple sources, including surveys, job posting sites, and other publicly available sources. A total of 6704 data points were collected. The dataset included five variables: age, experience, job role, education level, and salary</a:t>
            </a:r>
            <a:endParaRPr lang="en-US">
              <a:cs typeface="Sabon Next LT"/>
            </a:endParaRPr>
          </a:p>
          <a:p>
            <a:r>
              <a:rPr lang="en-US" b="1">
                <a:hlinkClick r:id="rId7"/>
              </a:rPr>
              <a:t>https://simplemaps.com/data/us-cities</a:t>
            </a:r>
            <a:r>
              <a:rPr lang="en-US" b="1"/>
              <a:t> </a:t>
            </a:r>
            <a:endParaRPr lang="en-US" b="1">
              <a:cs typeface="Sabon Next LT"/>
            </a:endParaRPr>
          </a:p>
          <a:p>
            <a:pPr marL="971550" lvl="1" indent="-285750"/>
            <a:r>
              <a:rPr lang="en-US"/>
              <a:t>Details latitude and longitude of USA cities, a reference for mapping.</a:t>
            </a:r>
            <a:endParaRPr lang="en-US">
              <a:cs typeface="Sabon Next LT"/>
            </a:endParaRPr>
          </a:p>
          <a:p>
            <a:pPr marL="971550" lvl="1" indent="-285750"/>
            <a:r>
              <a:rPr lang="en-US">
                <a:cs typeface="Sabon Next LT"/>
              </a:rPr>
              <a:t>This comes from the US Census Bureau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>
              <a:highlight>
                <a:srgbClr val="FFFF00"/>
              </a:highlight>
            </a:endParaRPr>
          </a:p>
          <a:p>
            <a:pPr marL="285750" indent="-285750">
              <a:buChar char="•"/>
            </a:pPr>
            <a:endParaRPr lang="en-US">
              <a:highlight>
                <a:srgbClr val="FFFF00"/>
              </a:highlight>
              <a:cs typeface="Sabon Next LT"/>
            </a:endParaRPr>
          </a:p>
          <a:p>
            <a:endParaRPr lang="en-US">
              <a:cs typeface="Sabon Next LT"/>
            </a:endParaRPr>
          </a:p>
        </p:txBody>
      </p:sp>
    </p:spTree>
    <p:extLst>
      <p:ext uri="{BB962C8B-B14F-4D97-AF65-F5344CB8AC3E}">
        <p14:creationId xmlns:p14="http://schemas.microsoft.com/office/powerpoint/2010/main" val="37407118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5A601CC9-8E8D-4413-AEA9-B0E8AF0E4F5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198300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A601CC9-8E8D-4413-AEA9-B0E8AF0E4F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C371CEB5-0F43-BA22-C4E7-3A84E631DA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Back end Process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FC63C25-FE2A-0C11-2CEA-A80AA78FC36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Cleaning data</a:t>
            </a:r>
          </a:p>
        </p:txBody>
      </p:sp>
      <p:pic>
        <p:nvPicPr>
          <p:cNvPr id="72" name="Picture Placeholder 71" descr="abacus icon">
            <a:extLst>
              <a:ext uri="{FF2B5EF4-FFF2-40B4-BE49-F238E27FC236}">
                <a16:creationId xmlns:a16="http://schemas.microsoft.com/office/drawing/2014/main" id="{FD5AE93E-9743-FD3B-C935-638BF9D159CC}"/>
              </a:ext>
            </a:extLst>
          </p:cNvPr>
          <p:cNvPicPr>
            <a:picLocks noGrp="1" noChangeAspect="1"/>
          </p:cNvPicPr>
          <p:nvPr>
            <p:ph type="pic" sz="quarter" idx="23"/>
          </p:nvPr>
        </p:nvPicPr>
        <p:blipFill rotWithShape="1">
          <a:blip r:embed="rId5"/>
          <a:srcRect/>
          <a:stretch/>
        </p:blipFill>
        <p:spPr/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AD6749A-51D8-599C-7C31-9922CF228D3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/>
              <a:t>Broke out the tables </a:t>
            </a:r>
          </a:p>
          <a:p>
            <a:r>
              <a:rPr lang="en-US"/>
              <a:t>Deleted irrelevant job titles from all table</a:t>
            </a:r>
          </a:p>
          <a:p>
            <a:r>
              <a:rPr lang="en-US"/>
              <a:t>Consolidated company data and deleted duplicates</a:t>
            </a:r>
          </a:p>
          <a:p>
            <a:r>
              <a:rPr lang="en-US"/>
              <a:t>Reduced similar company and job titl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8753AB0-02A6-E89E-7E23-593DBF52F4E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/>
              <a:t>Importing tables</a:t>
            </a:r>
          </a:p>
        </p:txBody>
      </p:sp>
      <p:pic>
        <p:nvPicPr>
          <p:cNvPr id="76" name="Picture Placeholder 75" descr="increasing chart icon">
            <a:extLst>
              <a:ext uri="{FF2B5EF4-FFF2-40B4-BE49-F238E27FC236}">
                <a16:creationId xmlns:a16="http://schemas.microsoft.com/office/drawing/2014/main" id="{7541E72A-A0CB-A011-55A9-1126F707D889}"/>
              </a:ext>
            </a:extLst>
          </p:cNvPr>
          <p:cNvPicPr>
            <a:picLocks noGrp="1" noChangeAspect="1"/>
          </p:cNvPicPr>
          <p:nvPr>
            <p:ph type="pic" sz="quarter" idx="25"/>
          </p:nvPr>
        </p:nvPicPr>
        <p:blipFill rotWithShape="1">
          <a:blip r:embed="rId6"/>
          <a:srcRect/>
          <a:stretch/>
        </p:blipFill>
        <p:spPr/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BF56CE2-ADEB-1E22-50FB-9F2AB378648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pPr marL="347345" indent="-347345"/>
            <a:r>
              <a:rPr lang="en-US"/>
              <a:t>Created all the tables in SQL and imported the cleaned-up csv files</a:t>
            </a:r>
          </a:p>
          <a:p>
            <a:pPr marL="347345" indent="-347345"/>
            <a:r>
              <a:rPr lang="en-US">
                <a:ea typeface="+mn-lt"/>
                <a:cs typeface="+mn-lt"/>
              </a:rPr>
              <a:t>U</a:t>
            </a:r>
            <a:r>
              <a:rPr lang="en-US"/>
              <a:t>sed Supabase to host a Postgres server in the Cloud</a:t>
            </a:r>
            <a:endParaRPr lang="en-US">
              <a:cs typeface="Sabon Next LT"/>
            </a:endParaRPr>
          </a:p>
          <a:p>
            <a:pPr marL="347345" indent="-347345"/>
            <a:r>
              <a:rPr lang="en-US"/>
              <a:t>Flask API used to retrieve data  hosted on Python Anywhere </a:t>
            </a:r>
            <a:endParaRPr lang="en-US">
              <a:cs typeface="Sabon Next LT"/>
            </a:endParaRPr>
          </a:p>
          <a:p>
            <a:pPr marL="0" indent="0">
              <a:buNone/>
            </a:pPr>
            <a:endParaRPr lang="en-US">
              <a:latin typeface="Arial"/>
              <a:cs typeface="Arial"/>
            </a:endParaRPr>
          </a:p>
          <a:p>
            <a:pPr marL="347345" indent="-347345"/>
            <a:endParaRPr lang="en-US">
              <a:cs typeface="Sabon Next LT"/>
            </a:endParaRPr>
          </a:p>
          <a:p>
            <a:pPr marL="347345" indent="-347345"/>
            <a:endParaRPr lang="en-US">
              <a:cs typeface="Sabon Next LT"/>
            </a:endParaRPr>
          </a:p>
          <a:p>
            <a:pPr marL="347345" indent="-347345"/>
            <a:endParaRPr lang="en-US">
              <a:cs typeface="Sabon Next LT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3745CA7-A767-9133-8871-800B16D5D72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/>
              <a:t>Relationships</a:t>
            </a:r>
          </a:p>
        </p:txBody>
      </p:sp>
      <p:pic>
        <p:nvPicPr>
          <p:cNvPr id="80" name="Picture Placeholder 79" descr="chain link icon">
            <a:extLst>
              <a:ext uri="{FF2B5EF4-FFF2-40B4-BE49-F238E27FC236}">
                <a16:creationId xmlns:a16="http://schemas.microsoft.com/office/drawing/2014/main" id="{FCC17566-BE36-5CE0-25C6-8AC132D1479D}"/>
              </a:ext>
            </a:extLst>
          </p:cNvPr>
          <p:cNvPicPr>
            <a:picLocks noGrp="1" noChangeAspect="1"/>
          </p:cNvPicPr>
          <p:nvPr>
            <p:ph type="pic" sz="quarter" idx="24"/>
          </p:nvPr>
        </p:nvPicPr>
        <p:blipFill rotWithShape="1">
          <a:blip r:embed="rId7"/>
          <a:srcRect t="85" b="85"/>
          <a:stretch/>
        </p:blipFill>
        <p:spPr/>
      </p:pic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063C991-877C-CD1D-A03D-547E04121FE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en-US"/>
              <a:t>Set primary and foreign keys.</a:t>
            </a:r>
          </a:p>
          <a:p>
            <a:r>
              <a:rPr lang="en-US"/>
              <a:t>Drew ERD of all the relationships between tables. </a:t>
            </a:r>
          </a:p>
          <a:p>
            <a:r>
              <a:rPr lang="en-US"/>
              <a:t>Queried information to be used converted to JSON files. </a:t>
            </a:r>
          </a:p>
        </p:txBody>
      </p:sp>
    </p:spTree>
    <p:extLst>
      <p:ext uri="{BB962C8B-B14F-4D97-AF65-F5344CB8AC3E}">
        <p14:creationId xmlns:p14="http://schemas.microsoft.com/office/powerpoint/2010/main" val="421454924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5A601CC9-8E8D-4413-AEA9-B0E8AF0E4F5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81411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A601CC9-8E8D-4413-AEA9-B0E8AF0E4F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C371CEB5-0F43-BA22-C4E7-3A84E631DA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Front end Process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FC63C25-FE2A-0C11-2CEA-A80AA78FC36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latin typeface="Arial"/>
                <a:cs typeface="Arial"/>
              </a:rPr>
              <a:t>Developing</a:t>
            </a:r>
            <a:endParaRPr lang="en-US"/>
          </a:p>
        </p:txBody>
      </p:sp>
      <p:pic>
        <p:nvPicPr>
          <p:cNvPr id="72" name="Picture Placeholder 71" descr="abacus icon">
            <a:extLst>
              <a:ext uri="{FF2B5EF4-FFF2-40B4-BE49-F238E27FC236}">
                <a16:creationId xmlns:a16="http://schemas.microsoft.com/office/drawing/2014/main" id="{FD5AE93E-9743-FD3B-C935-638BF9D159CC}"/>
              </a:ext>
            </a:extLst>
          </p:cNvPr>
          <p:cNvPicPr>
            <a:picLocks noGrp="1" noChangeAspect="1"/>
          </p:cNvPicPr>
          <p:nvPr>
            <p:ph type="pic" sz="quarter" idx="23"/>
          </p:nvPr>
        </p:nvPicPr>
        <p:blipFill rotWithShape="1">
          <a:blip r:embed="rId5"/>
          <a:srcRect/>
          <a:stretch/>
        </p:blipFill>
        <p:spPr/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AD6749A-51D8-599C-7C31-9922CF228D3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92124" y="3745492"/>
            <a:ext cx="2770632" cy="2206752"/>
          </a:xfrm>
        </p:spPr>
        <p:txBody>
          <a:bodyPr/>
          <a:lstStyle/>
          <a:p>
            <a:pPr marL="347345" indent="-347345"/>
            <a:r>
              <a:rPr lang="en-US">
                <a:ea typeface="+mn-lt"/>
                <a:cs typeface="+mn-lt"/>
              </a:rPr>
              <a:t>Each team member in Development created their own visuals</a:t>
            </a:r>
            <a:endParaRPr lang="en-US">
              <a:cs typeface="Sabon Next LT"/>
            </a:endParaRPr>
          </a:p>
          <a:p>
            <a:pPr marL="347345" indent="-347345"/>
            <a:r>
              <a:rPr lang="en-US">
                <a:ea typeface="+mn-lt"/>
                <a:cs typeface="+mn-lt"/>
              </a:rPr>
              <a:t>Created map files </a:t>
            </a:r>
            <a:endParaRPr lang="en-US"/>
          </a:p>
          <a:p>
            <a:pPr marL="347345" indent="-347345"/>
            <a:r>
              <a:rPr lang="en-US">
                <a:ea typeface="+mn-lt"/>
                <a:cs typeface="+mn-lt"/>
              </a:rPr>
              <a:t>Combined everyone’s files into final front end </a:t>
            </a:r>
            <a:endParaRPr lang="en-US"/>
          </a:p>
          <a:p>
            <a:pPr marL="347345" indent="-347345"/>
            <a:r>
              <a:rPr lang="en-US">
                <a:ea typeface="+mn-lt"/>
                <a:cs typeface="+mn-lt"/>
              </a:rPr>
              <a:t>Added custom style for maps and bar graphs </a:t>
            </a:r>
            <a:endParaRPr lang="en-US"/>
          </a:p>
          <a:p>
            <a:pPr marL="347345" indent="-347345"/>
            <a:endParaRPr lang="en-US">
              <a:cs typeface="Sabon Next LT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8753AB0-02A6-E89E-7E23-593DBF52F4E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>
                <a:latin typeface="Arial"/>
                <a:cs typeface="Arial"/>
              </a:rPr>
              <a:t>deployment</a:t>
            </a:r>
            <a:endParaRPr lang="en-US"/>
          </a:p>
        </p:txBody>
      </p:sp>
      <p:pic>
        <p:nvPicPr>
          <p:cNvPr id="76" name="Picture Placeholder 75" descr="increasing chart icon">
            <a:extLst>
              <a:ext uri="{FF2B5EF4-FFF2-40B4-BE49-F238E27FC236}">
                <a16:creationId xmlns:a16="http://schemas.microsoft.com/office/drawing/2014/main" id="{7541E72A-A0CB-A011-55A9-1126F707D889}"/>
              </a:ext>
            </a:extLst>
          </p:cNvPr>
          <p:cNvPicPr>
            <a:picLocks noGrp="1" noChangeAspect="1"/>
          </p:cNvPicPr>
          <p:nvPr>
            <p:ph type="pic" sz="quarter" idx="25"/>
          </p:nvPr>
        </p:nvPicPr>
        <p:blipFill rotWithShape="1">
          <a:blip r:embed="rId6"/>
          <a:srcRect/>
          <a:stretch/>
        </p:blipFill>
        <p:spPr/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BF56CE2-ADEB-1E22-50FB-9F2AB378648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711503" y="3745492"/>
            <a:ext cx="2770632" cy="2206752"/>
          </a:xfrm>
        </p:spPr>
        <p:txBody>
          <a:bodyPr/>
          <a:lstStyle/>
          <a:p>
            <a:pPr marL="347345" indent="-347345"/>
            <a:r>
              <a:rPr lang="en-US">
                <a:ea typeface="+mn-lt"/>
                <a:cs typeface="+mn-lt"/>
              </a:rPr>
              <a:t>Deployed using Render </a:t>
            </a:r>
            <a:endParaRPr lang="en-US">
              <a:cs typeface="Sabon Next LT"/>
            </a:endParaRPr>
          </a:p>
          <a:p>
            <a:pPr marL="347345" indent="-347345"/>
            <a:r>
              <a:rPr lang="en-US">
                <a:ea typeface="+mn-lt"/>
                <a:cs typeface="+mn-lt"/>
              </a:rPr>
              <a:t>Manual build triggers when required </a:t>
            </a:r>
            <a:endParaRPr lang="en-US"/>
          </a:p>
          <a:p>
            <a:pPr marL="347345" indent="-347345"/>
            <a:r>
              <a:rPr lang="en-US">
                <a:ea typeface="+mn-lt"/>
                <a:cs typeface="+mn-lt"/>
              </a:rPr>
              <a:t>Automatic triggers on pushes to main </a:t>
            </a:r>
            <a:endParaRPr lang="en-US"/>
          </a:p>
          <a:p>
            <a:pPr marL="347345" indent="-347345"/>
            <a:r>
              <a:rPr lang="en-US">
                <a:ea typeface="+mn-lt"/>
                <a:cs typeface="+mn-lt"/>
              </a:rPr>
              <a:t>Used NPM to make deployment simple </a:t>
            </a:r>
            <a:endParaRPr lang="en-US"/>
          </a:p>
          <a:p>
            <a:pPr marL="347345" indent="-347345"/>
            <a:endParaRPr lang="en-US">
              <a:cs typeface="Sabon Next LT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3745CA7-A767-9133-8871-800B16D5D72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>
                <a:latin typeface="Arial"/>
                <a:cs typeface="Arial"/>
              </a:rPr>
              <a:t>Tools and libraries</a:t>
            </a:r>
            <a:endParaRPr lang="en-US"/>
          </a:p>
        </p:txBody>
      </p:sp>
      <p:pic>
        <p:nvPicPr>
          <p:cNvPr id="80" name="Picture Placeholder 79" descr="chain link icon">
            <a:extLst>
              <a:ext uri="{FF2B5EF4-FFF2-40B4-BE49-F238E27FC236}">
                <a16:creationId xmlns:a16="http://schemas.microsoft.com/office/drawing/2014/main" id="{FCC17566-BE36-5CE0-25C6-8AC132D1479D}"/>
              </a:ext>
            </a:extLst>
          </p:cNvPr>
          <p:cNvPicPr>
            <a:picLocks noGrp="1" noChangeAspect="1"/>
          </p:cNvPicPr>
          <p:nvPr>
            <p:ph type="pic" sz="quarter" idx="24"/>
          </p:nvPr>
        </p:nvPicPr>
        <p:blipFill rotWithShape="1">
          <a:blip r:embed="rId7"/>
          <a:srcRect t="85" b="85"/>
          <a:stretch/>
        </p:blipFill>
        <p:spPr/>
      </p:pic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063C991-877C-CD1D-A03D-547E04121FE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371332" y="3745492"/>
            <a:ext cx="2770632" cy="2206752"/>
          </a:xfrm>
        </p:spPr>
        <p:txBody>
          <a:bodyPr/>
          <a:lstStyle/>
          <a:p>
            <a:pPr marL="347345" indent="-347345"/>
            <a:r>
              <a:rPr lang="en-US">
                <a:ea typeface="+mn-lt"/>
                <a:cs typeface="+mn-lt"/>
              </a:rPr>
              <a:t>Vite used as static webserver </a:t>
            </a:r>
            <a:endParaRPr lang="en-US">
              <a:cs typeface="Sabon Next LT"/>
            </a:endParaRPr>
          </a:p>
          <a:p>
            <a:pPr marL="347345" indent="-347345"/>
            <a:r>
              <a:rPr lang="en-US">
                <a:ea typeface="+mn-lt"/>
                <a:cs typeface="+mn-lt"/>
              </a:rPr>
              <a:t>NPM used as build tool to manage dependencies </a:t>
            </a:r>
            <a:endParaRPr lang="en-US"/>
          </a:p>
          <a:p>
            <a:pPr marL="347345" indent="-347345"/>
            <a:r>
              <a:rPr lang="en-US">
                <a:ea typeface="+mn-lt"/>
                <a:cs typeface="+mn-lt"/>
              </a:rPr>
              <a:t>Open Layer used as map API </a:t>
            </a:r>
            <a:endParaRPr lang="en-US"/>
          </a:p>
          <a:p>
            <a:pPr marL="347345" indent="-347345"/>
            <a:r>
              <a:rPr lang="en-US">
                <a:ea typeface="+mn-lt"/>
                <a:cs typeface="+mn-lt"/>
              </a:rPr>
              <a:t>Plotly used for graphs and charts </a:t>
            </a:r>
            <a:endParaRPr lang="en-US"/>
          </a:p>
          <a:p>
            <a:pPr marL="347345" indent="-347345"/>
            <a:r>
              <a:rPr lang="en-US">
                <a:ea typeface="+mn-lt"/>
                <a:cs typeface="+mn-lt"/>
              </a:rPr>
              <a:t>Any Chart used to make a Word Cloud</a:t>
            </a:r>
            <a:endParaRPr lang="en-US" err="1"/>
          </a:p>
          <a:p>
            <a:pPr marL="347345" indent="-347345"/>
            <a:endParaRPr lang="en-US">
              <a:cs typeface="Sabon Next LT"/>
            </a:endParaRPr>
          </a:p>
        </p:txBody>
      </p:sp>
    </p:spTree>
    <p:extLst>
      <p:ext uri="{BB962C8B-B14F-4D97-AF65-F5344CB8AC3E}">
        <p14:creationId xmlns:p14="http://schemas.microsoft.com/office/powerpoint/2010/main" val="134290460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6906B494-FE76-49D9-3F17-35211822390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35725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906B494-FE76-49D9-3F17-3521182239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FAC905B-2BC1-D52B-2B5D-DCB6A1BBAA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>
                <a:latin typeface="Arial"/>
                <a:cs typeface="Arial"/>
              </a:rPr>
              <a:t>Demo</a:t>
            </a:r>
            <a:br>
              <a:rPr lang="en-US">
                <a:latin typeface="Arial"/>
                <a:cs typeface="Arial"/>
              </a:rPr>
            </a:br>
            <a:br>
              <a:rPr lang="en-US"/>
            </a:br>
            <a:r>
              <a:rPr lang="en-US" sz="2800" b="0" u="sng">
                <a:latin typeface="Arial"/>
                <a:cs typeface="Arial"/>
                <a:hlinkClick r:id="rId5"/>
              </a:rPr>
              <a:t>Project 3 Website</a:t>
            </a:r>
            <a:endParaRPr lang="en-US" sz="2800"/>
          </a:p>
        </p:txBody>
      </p:sp>
    </p:spTree>
    <p:extLst>
      <p:ext uri="{BB962C8B-B14F-4D97-AF65-F5344CB8AC3E}">
        <p14:creationId xmlns:p14="http://schemas.microsoft.com/office/powerpoint/2010/main" val="243166829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3C21ABE-C7A4-5C87-251D-FF5DBD0C46B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171254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3C21ABE-C7A4-5C87-251D-FF5DBD0C46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6B309B0-6209-D3D0-9D5E-308B9F6E73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77640" y="859536"/>
            <a:ext cx="8165592" cy="768096"/>
          </a:xfrm>
        </p:spPr>
        <p:txBody>
          <a:bodyPr vert="horz"/>
          <a:lstStyle/>
          <a:p>
            <a:r>
              <a:rPr lang="en-US"/>
              <a:t>conclusions</a:t>
            </a:r>
            <a:br>
              <a:rPr lang="en-US"/>
            </a:br>
            <a:endParaRPr lang="en-US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7414A090-959F-9A2F-01B7-BCB2E6A682A2}"/>
              </a:ext>
            </a:extLst>
          </p:cNvPr>
          <p:cNvSpPr txBox="1">
            <a:spLocks/>
          </p:cNvSpPr>
          <p:nvPr/>
        </p:nvSpPr>
        <p:spPr>
          <a:xfrm>
            <a:off x="3758599" y="1743855"/>
            <a:ext cx="8303168" cy="488970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kern="1200" cap="all" baseline="0">
                <a:solidFill>
                  <a:schemeClr val="accent6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100000"/>
              </a:lnSpc>
              <a:spcBef>
                <a:spcPts val="360"/>
              </a:spcBef>
              <a:buFont typeface="Arial" panose="020B0604020202020204" pitchFamily="34" charset="0"/>
              <a:buNone/>
              <a:defRPr sz="2000" b="1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100000"/>
              </a:lnSpc>
              <a:spcBef>
                <a:spcPts val="360"/>
              </a:spcBef>
              <a:buFont typeface="Arial" panose="020B0604020202020204" pitchFamily="34" charset="0"/>
              <a:buNone/>
              <a:defRPr sz="1800" b="1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100000"/>
              </a:lnSpc>
              <a:spcBef>
                <a:spcPts val="360"/>
              </a:spcBef>
              <a:buFont typeface="Arial" panose="020B0604020202020204" pitchFamily="34" charset="0"/>
              <a:buNone/>
              <a:defRPr sz="1600" b="1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100000"/>
              </a:lnSpc>
              <a:spcBef>
                <a:spcPts val="360"/>
              </a:spcBef>
              <a:buFont typeface="Arial" panose="020B0604020202020204" pitchFamily="34" charset="0"/>
              <a:buNone/>
              <a:defRPr sz="1600" b="1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latin typeface="Arial"/>
                <a:cs typeface="Arial"/>
              </a:rPr>
              <a:t>Job availabilities</a:t>
            </a:r>
            <a:endParaRPr lang="en-US" sz="2000">
              <a:latin typeface="+mn-lt"/>
              <a:cs typeface="+mn-cs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800" b="0"/>
              <a:t>1559 total job offers</a:t>
            </a:r>
            <a:endParaRPr lang="en-US" sz="1800" b="0">
              <a:cs typeface="Sabon Next LT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800" b="0"/>
              <a:t>The top state for job offers was California at 441</a:t>
            </a:r>
            <a:endParaRPr lang="en-US" sz="1800" b="0">
              <a:cs typeface="Sabon Next LT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800" b="0"/>
              <a:t>California had the highest-paying salary estimated for job offers.</a:t>
            </a:r>
            <a:endParaRPr lang="en-US" sz="1800" b="0">
              <a:cs typeface="Sabon Next 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>
              <a:latin typeface="Arial"/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latin typeface="Arial"/>
                <a:cs typeface="Arial"/>
              </a:rPr>
              <a:t>Salary potential by years of exp </a:t>
            </a:r>
            <a:endParaRPr lang="en-US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800" b="0" cap="none"/>
              <a:t>The largest </a:t>
            </a:r>
            <a:r>
              <a:rPr lang="en-US" sz="1800" b="0"/>
              <a:t>increases</a:t>
            </a:r>
            <a:r>
              <a:rPr lang="en-US" sz="1800" b="0" cap="none"/>
              <a:t> </a:t>
            </a:r>
            <a:r>
              <a:rPr lang="en-US" sz="1800" b="0"/>
              <a:t>in salaries </a:t>
            </a:r>
            <a:r>
              <a:rPr lang="en-US" sz="1800" b="0" cap="none"/>
              <a:t>are between </a:t>
            </a:r>
            <a:r>
              <a:rPr lang="en-US" sz="1800" b="0"/>
              <a:t>0-5</a:t>
            </a:r>
            <a:r>
              <a:rPr lang="en-US" sz="1800" b="0" cap="none"/>
              <a:t> years, with the </a:t>
            </a:r>
            <a:r>
              <a:rPr lang="en-US" sz="1800" b="0"/>
              <a:t>average</a:t>
            </a:r>
            <a:r>
              <a:rPr lang="en-US" sz="1800" b="0" cap="none"/>
              <a:t> salary increase being +126%</a:t>
            </a:r>
            <a:endParaRPr lang="en-US" sz="1800" b="0" cap="none">
              <a:cs typeface="Sabon Next LT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800" b="0"/>
              <a:t>Salaries cap</a:t>
            </a:r>
            <a:r>
              <a:rPr lang="en-US" sz="1800" b="0" cap="none"/>
              <a:t> out around year 15</a:t>
            </a:r>
            <a:r>
              <a:rPr lang="en-US" sz="1800" b="0"/>
              <a:t> with a salary of </a:t>
            </a:r>
            <a:r>
              <a:rPr lang="en-US" sz="1800" b="0" cap="none"/>
              <a:t>$175k</a:t>
            </a:r>
            <a:endParaRPr lang="en-US" sz="1800" b="0" cap="none">
              <a:cs typeface="Sabon Next LT"/>
            </a:endParaRPr>
          </a:p>
          <a:p>
            <a:pPr lvl="1"/>
            <a:endParaRPr lang="en-US" b="0">
              <a:latin typeface="Sabon Next LT"/>
              <a:cs typeface="Sabon Next 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latin typeface="Arial"/>
                <a:cs typeface="Arial"/>
              </a:rPr>
              <a:t>Average Salaries by education level </a:t>
            </a:r>
            <a:endParaRPr lang="en-US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/>
              <a:t> </a:t>
            </a:r>
            <a:r>
              <a:rPr lang="en-US" sz="1800" b="0"/>
              <a:t>There is only 11% increase from a high school education and a bachelors.</a:t>
            </a:r>
            <a:endParaRPr lang="en-US" sz="1800" b="0">
              <a:cs typeface="Sabon Next LT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800" b="0"/>
              <a:t> The biggest jump in salaries is from bachelors to a master degree.</a:t>
            </a:r>
            <a:endParaRPr lang="en-US" sz="1800" b="0" cap="none">
              <a:cs typeface="Sabon Next LT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800" b="0">
                <a:latin typeface="Sabon Next LT"/>
                <a:cs typeface="Sabon Next LT"/>
              </a:rPr>
              <a:t> There is little difference in salary between a high school diploma and a Bachelor's degree. </a:t>
            </a:r>
            <a:endParaRPr lang="en-US" sz="1800" b="0">
              <a:latin typeface="Sabon Next LT"/>
              <a:cs typeface="Arial"/>
            </a:endParaRPr>
          </a:p>
          <a:p>
            <a:pPr marL="742950" lvl="1" indent="-285750">
              <a:buChar char="•"/>
            </a:pPr>
            <a:endParaRPr lang="en-US" sz="1800" b="0">
              <a:latin typeface="Sabon Next LT"/>
              <a:cs typeface="Arial"/>
            </a:endParaRPr>
          </a:p>
          <a:p>
            <a:pPr lvl="1"/>
            <a:endParaRPr lang="en-US" b="0" cap="all">
              <a:latin typeface="Sabon Next LT"/>
              <a:cs typeface="Arial"/>
            </a:endParaRPr>
          </a:p>
          <a:p>
            <a:pPr marL="742950" lvl="1" indent="-285750">
              <a:buChar char="•"/>
            </a:pPr>
            <a:endParaRPr lang="en-US">
              <a:latin typeface="Sabon Next LT"/>
              <a:cs typeface="Sabon Next LT"/>
            </a:endParaRPr>
          </a:p>
          <a:p>
            <a:endParaRPr lang="en-US"/>
          </a:p>
          <a:p>
            <a:pPr marL="285750" indent="-285750">
              <a:buChar char="•"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028039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3C21ABE-C7A4-5C87-251D-FF5DBD0C46B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72153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3C21ABE-C7A4-5C87-251D-FF5DBD0C46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6B309B0-6209-D3D0-9D5E-308B9F6E73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77640" y="859536"/>
            <a:ext cx="8165592" cy="768096"/>
          </a:xfrm>
        </p:spPr>
        <p:txBody>
          <a:bodyPr vert="horz"/>
          <a:lstStyle/>
          <a:p>
            <a:r>
              <a:rPr lang="en-US" sz="4000"/>
              <a:t>Conclusions</a:t>
            </a:r>
            <a:r>
              <a:rPr lang="en-US"/>
              <a:t> </a:t>
            </a:r>
            <a:r>
              <a:rPr lang="en-US" sz="4000"/>
              <a:t>continued</a:t>
            </a:r>
            <a:br>
              <a:rPr lang="en-US"/>
            </a:br>
            <a:endParaRPr lang="en-US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7414A090-959F-9A2F-01B7-BCB2E6A682A2}"/>
              </a:ext>
            </a:extLst>
          </p:cNvPr>
          <p:cNvSpPr txBox="1">
            <a:spLocks/>
          </p:cNvSpPr>
          <p:nvPr/>
        </p:nvSpPr>
        <p:spPr>
          <a:xfrm>
            <a:off x="3758599" y="1743855"/>
            <a:ext cx="8303168" cy="488970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kern="1200" cap="all" baseline="0">
                <a:solidFill>
                  <a:schemeClr val="accent6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100000"/>
              </a:lnSpc>
              <a:spcBef>
                <a:spcPts val="360"/>
              </a:spcBef>
              <a:buFont typeface="Arial" panose="020B0604020202020204" pitchFamily="34" charset="0"/>
              <a:buNone/>
              <a:defRPr sz="2000" b="1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100000"/>
              </a:lnSpc>
              <a:spcBef>
                <a:spcPts val="360"/>
              </a:spcBef>
              <a:buFont typeface="Arial" panose="020B0604020202020204" pitchFamily="34" charset="0"/>
              <a:buNone/>
              <a:defRPr sz="1800" b="1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100000"/>
              </a:lnSpc>
              <a:spcBef>
                <a:spcPts val="360"/>
              </a:spcBef>
              <a:buFont typeface="Arial" panose="020B0604020202020204" pitchFamily="34" charset="0"/>
              <a:buNone/>
              <a:defRPr sz="1600" b="1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100000"/>
              </a:lnSpc>
              <a:spcBef>
                <a:spcPts val="360"/>
              </a:spcBef>
              <a:buFont typeface="Arial" panose="020B0604020202020204" pitchFamily="34" charset="0"/>
              <a:buNone/>
              <a:defRPr sz="1600" b="1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42950" lvl="1" indent="-285750">
              <a:buFont typeface="Arial" panose="020B0604020202020204" pitchFamily="34" charset="0"/>
              <a:buChar char="•"/>
            </a:pPr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9BC95A44-1940-EC68-EE53-6D96F691638F}"/>
              </a:ext>
            </a:extLst>
          </p:cNvPr>
          <p:cNvSpPr txBox="1">
            <a:spLocks/>
          </p:cNvSpPr>
          <p:nvPr/>
        </p:nvSpPr>
        <p:spPr>
          <a:xfrm>
            <a:off x="3774521" y="1623300"/>
            <a:ext cx="8303168" cy="488970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kern="1200" cap="all" baseline="0">
                <a:solidFill>
                  <a:schemeClr val="accent6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100000"/>
              </a:lnSpc>
              <a:spcBef>
                <a:spcPts val="360"/>
              </a:spcBef>
              <a:buFont typeface="Arial" panose="020B0604020202020204" pitchFamily="34" charset="0"/>
              <a:buNone/>
              <a:defRPr sz="2000" b="1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100000"/>
              </a:lnSpc>
              <a:spcBef>
                <a:spcPts val="360"/>
              </a:spcBef>
              <a:buFont typeface="Arial" panose="020B0604020202020204" pitchFamily="34" charset="0"/>
              <a:buNone/>
              <a:defRPr sz="1800" b="1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100000"/>
              </a:lnSpc>
              <a:spcBef>
                <a:spcPts val="360"/>
              </a:spcBef>
              <a:buFont typeface="Arial" panose="020B0604020202020204" pitchFamily="34" charset="0"/>
              <a:buNone/>
              <a:defRPr sz="1600" b="1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100000"/>
              </a:lnSpc>
              <a:spcBef>
                <a:spcPts val="360"/>
              </a:spcBef>
              <a:buFont typeface="Arial" panose="020B0604020202020204" pitchFamily="34" charset="0"/>
              <a:buNone/>
              <a:defRPr sz="1600" b="1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endParaRPr lang="en-US" sz="1100" b="0">
              <a:solidFill>
                <a:srgbClr val="D1D2D3"/>
              </a:solidFill>
              <a:latin typeface="Sabon Next 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latin typeface="Arial"/>
                <a:cs typeface="Arial"/>
              </a:rPr>
              <a:t>Word cloud</a:t>
            </a:r>
          </a:p>
          <a:p>
            <a:pPr marL="742950" lvl="1" indent="-285750">
              <a:buChar char="•"/>
            </a:pPr>
            <a:r>
              <a:rPr lang="en-US" sz="1800" b="0">
                <a:latin typeface="Sabon Next LT"/>
                <a:cs typeface="Arial"/>
              </a:rPr>
              <a:t>The top 2 careers found were Data Engineer and Data Scientist, Analytics. 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>
              <a:latin typeface="Arial"/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latin typeface="Arial"/>
                <a:cs typeface="Arial"/>
              </a:rPr>
              <a:t>Salaries by job titl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800" b="0">
                <a:latin typeface="Sabon Next LT"/>
                <a:cs typeface="Arial"/>
              </a:rPr>
              <a:t>Highest paying roles were in Software, Data Engineering, Data Scientist, and Data Analyst. 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b="0">
              <a:latin typeface="Arial"/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latin typeface="Arial"/>
                <a:cs typeface="Arial"/>
              </a:rPr>
              <a:t>JOBS BY SECTOR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800" b="0">
                <a:latin typeface="Sabon Next LT"/>
                <a:cs typeface="Arial"/>
              </a:rPr>
              <a:t>The most jobs offered were found in the sectors of Information Technology followed by Business Services. These jobs were 300 times more than Health Care and Finance. 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800" b="0">
                <a:latin typeface="Sabon Next LT"/>
                <a:cs typeface="Arial"/>
              </a:rPr>
              <a:t>There were limited number of jobs located in the Arts &amp; Entertainment, Restaurant and Bars, Mining &amp; Metals, and Travel and Tourism industries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>
              <a:latin typeface="Sabon Next LT"/>
              <a:cs typeface="Sabon Next 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27753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3">
      <a:dk1>
        <a:srgbClr val="000000"/>
      </a:dk1>
      <a:lt1>
        <a:srgbClr val="FDFAF6"/>
      </a:lt1>
      <a:dk2>
        <a:srgbClr val="44546A"/>
      </a:dk2>
      <a:lt2>
        <a:srgbClr val="E7E6E6"/>
      </a:lt2>
      <a:accent1>
        <a:srgbClr val="F5CDCE"/>
      </a:accent1>
      <a:accent2>
        <a:srgbClr val="DE8C8C"/>
      </a:accent2>
      <a:accent3>
        <a:srgbClr val="AAC3E8"/>
      </a:accent3>
      <a:accent4>
        <a:srgbClr val="D2D592"/>
      </a:accent4>
      <a:accent5>
        <a:srgbClr val="CCBE89"/>
      </a:accent5>
      <a:accent6>
        <a:srgbClr val="1F2C8F"/>
      </a:accent6>
      <a:hlink>
        <a:srgbClr val="1F2C8F"/>
      </a:hlink>
      <a:folHlink>
        <a:srgbClr val="AAC3E9"/>
      </a:folHlink>
    </a:clrScheme>
    <a:fontScheme name="Custom 22">
      <a:majorFont>
        <a:latin typeface="Arial Black"/>
        <a:ea typeface=""/>
        <a:cs typeface=""/>
      </a:majorFont>
      <a:minorFont>
        <a:latin typeface="Sabon Next LT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Geometric color block" id="{8E8E6382-84E0-47AA-A2A2-8ED603AAB26E}" vid="{692203AD-8BB8-47BB-AF1A-2D7F125D9E27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Image xmlns="71af3243-3dd4-4a8d-8c0d-dd76da1f02a5">
      <Url xsi:nil="true"/>
      <Description xsi:nil="true"/>
    </Image>
    <Status xmlns="71af3243-3dd4-4a8d-8c0d-dd76da1f02a5">Not started</Status>
    <Background xmlns="71af3243-3dd4-4a8d-8c0d-dd76da1f02a5">false</Background>
    <_ip_UnifiedCompliancePolicyProperties xmlns="http://schemas.microsoft.com/sharepoint/v3" xsi:nil="true"/>
    <ImageTagsTaxHTField xmlns="71af3243-3dd4-4a8d-8c0d-dd76da1f02a5">
      <Terms xmlns="http://schemas.microsoft.com/office/infopath/2007/PartnerControls"/>
    </ImageTagsTaxHTField>
    <TaxCatchAll xmlns="230e9df3-be65-4c73-a93b-d1236ebd677e" xsi:nil="true"/>
    <MediaServiceKeyPoints xmlns="71af3243-3dd4-4a8d-8c0d-dd76da1f02a5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9F111ED35F8CC479449609E8A0923A6" ma:contentTypeVersion="28" ma:contentTypeDescription="Create a new document." ma:contentTypeScope="" ma:versionID="60f5a4f2d2b0abadcf532d48ebf9cb71">
  <xsd:schema xmlns:xsd="http://www.w3.org/2001/XMLSchema" xmlns:xs="http://www.w3.org/2001/XMLSchema" xmlns:p="http://schemas.microsoft.com/office/2006/metadata/properties" xmlns:ns1="http://schemas.microsoft.com/sharepoint/v3" xmlns:ns2="71af3243-3dd4-4a8d-8c0d-dd76da1f02a5" xmlns:ns3="16c05727-aa75-4e4a-9b5f-8a80a1165891" xmlns:ns4="230e9df3-be65-4c73-a93b-d1236ebd677e" targetNamespace="http://schemas.microsoft.com/office/2006/metadata/properties" ma:root="true" ma:fieldsID="7dd78129e6a1811f84807ad11c651531" ns1:_="" ns2:_="" ns3:_="" ns4:_="">
    <xsd:import namespace="http://schemas.microsoft.com/sharepoint/v3"/>
    <xsd:import namespace="71af3243-3dd4-4a8d-8c0d-dd76da1f02a5"/>
    <xsd:import namespace="16c05727-aa75-4e4a-9b5f-8a80a1165891"/>
    <xsd:import namespace="230e9df3-be65-4c73-a93b-d1236ebd677e"/>
    <xsd:element name="properties">
      <xsd:complexType>
        <xsd:sequence>
          <xsd:element name="documentManagement">
            <xsd:complexType>
              <xsd:all>
                <xsd:element ref="ns2:Status" minOccurs="0"/>
                <xsd:element ref="ns2:Image" minOccurs="0"/>
                <xsd:element ref="ns2:MediaServiceMetadata" minOccurs="0"/>
                <xsd:element ref="ns2:MediaServiceFastMetadata" minOccurs="0"/>
                <xsd:element ref="ns2:MediaServiceOCR" minOccurs="0"/>
                <xsd:element ref="ns2:MediaServiceAutoTags" minOccurs="0"/>
                <xsd:element ref="ns2:MediaServiceEventHashCode" minOccurs="0"/>
                <xsd:element ref="ns2:MediaServiceGenerationTime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1:_ip_UnifiedCompliancePolicyProperties" minOccurs="0"/>
                <xsd:element ref="ns1:_ip_UnifiedCompliancePolicyUIAction" minOccurs="0"/>
                <xsd:element ref="ns4:TaxCatchAll" minOccurs="0"/>
                <xsd:element ref="ns2:ImageTagsTaxHTField" minOccurs="0"/>
                <xsd:element ref="ns2:MediaServiceLocation" minOccurs="0"/>
                <xsd:element ref="ns2:MediaLengthInSeconds" minOccurs="0"/>
                <xsd:element ref="ns2:Background" minOccurs="0"/>
                <xsd:element ref="ns2:MediaServiceSearchProperties" minOccurs="0"/>
                <xsd:element ref="ns2:MediaServiceDocTags" minOccurs="0"/>
                <xsd:element ref="ns2:MediaServiceObjectDetectorVersions" minOccurs="0"/>
                <xsd:element ref="ns2:MediaServiceSystemTag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0" nillable="true" ma:displayName="Unified Compliance Policy Properties" ma:hidden="true" ma:internalName="_ip_UnifiedCompliancePolicyProperties" ma:readOnly="false">
      <xsd:simpleType>
        <xsd:restriction base="dms:Note"/>
      </xsd:simpleType>
    </xsd:element>
    <xsd:element name="_ip_UnifiedCompliancePolicyUIAction" ma:index="21" nillable="true" ma:displayName="Unified Compliance Policy UI Action" ma:hidden="true" ma:internalName="_ip_UnifiedCompliancePolicyUIAction" ma:readOnly="fals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1af3243-3dd4-4a8d-8c0d-dd76da1f02a5" elementFormDefault="qualified">
    <xsd:import namespace="http://schemas.microsoft.com/office/2006/documentManagement/types"/>
    <xsd:import namespace="http://schemas.microsoft.com/office/infopath/2007/PartnerControls"/>
    <xsd:element name="Status" ma:index="2" nillable="true" ma:displayName="Status" ma:default="Not started" ma:format="Dropdown" ma:internalName="Status" ma:readOnly="false">
      <xsd:simpleType>
        <xsd:restriction base="dms:Choice">
          <xsd:enumeration value="Not started"/>
          <xsd:enumeration value="In Progress"/>
          <xsd:enumeration value="Completed"/>
        </xsd:restriction>
      </xsd:simpleType>
    </xsd:element>
    <xsd:element name="Image" ma:index="3" nillable="true" ma:displayName="Image" ma:format="Image" ma:internalName="Image" ma:readOnly="fals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CR" ma:index="10" nillable="true" ma:displayName="MediaServiceOCR" ma:hidden="true" ma:internalName="MediaServiceOCR" ma:readOnly="true">
      <xsd:simpleType>
        <xsd:restriction base="dms:Note"/>
      </xsd:simpleType>
    </xsd:element>
    <xsd:element name="MediaServiceAutoTags" ma:index="11" nillable="true" ma:displayName="MediaServiceAutoTags" ma:hidden="true" ma:internalName="MediaServiceAutoTags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hidden="true" ma:internalName="MediaServiceKeyPoints" ma:readOnly="false">
      <xsd:simpleType>
        <xsd:restriction base="dms:Note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ImageTagsTaxHTField" ma:index="25" nillable="true" ma:taxonomy="true" ma:internalName="ImageTagsTaxHTField" ma:taxonomyFieldName="MediaServiceImageTags" ma:displayName="Image Tags" ma:readOnly="false" ma:fieldId="{5cf76f15-5ced-4ddc-b409-7134ff3c332f}" ma:taxonomyMulti="true" ma:sspId="e385fb40-52d4-4fae-9c5b-3e8ff8a5878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26" nillable="true" ma:displayName="Location" ma:hidden="true" ma:internalName="MediaServiceLocation" ma:readOnly="true">
      <xsd:simpleType>
        <xsd:restriction base="dms:Text"/>
      </xsd:simpleType>
    </xsd:element>
    <xsd:element name="MediaLengthInSeconds" ma:index="27" nillable="true" ma:displayName="MediaLengthInSeconds" ma:hidden="true" ma:internalName="MediaLengthInSeconds" ma:readOnly="true">
      <xsd:simpleType>
        <xsd:restriction base="dms:Unknown"/>
      </xsd:simpleType>
    </xsd:element>
    <xsd:element name="Background" ma:index="28" nillable="true" ma:displayName="Background" ma:default="0" ma:format="Dropdown" ma:internalName="Background">
      <xsd:simpleType>
        <xsd:restriction base="dms:Boolean"/>
      </xsd:simpleType>
    </xsd:element>
    <xsd:element name="MediaServiceSearchProperties" ma:index="29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ocTags" ma:index="30" nillable="true" ma:displayName="MediaServiceDocTags" ma:hidden="true" ma:internalName="MediaServiceDocTags" ma:readOnly="true">
      <xsd:simpleType>
        <xsd:restriction base="dms:Note"/>
      </xsd:simpleType>
    </xsd:element>
    <xsd:element name="MediaServiceObjectDetectorVersions" ma:index="31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ystemTags" ma:index="32" nillable="true" ma:displayName="MediaServiceSystemTags" ma:hidden="true" ma:internalName="MediaServiceSystemTag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6c05727-aa75-4e4a-9b5f-8a80a1165891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hidden="true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hidden="true" ma:internalName="SharedWithDetail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30e9df3-be65-4c73-a93b-d1236ebd677e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3f6bfcbc-3db3-4ae6-bd76-326f0798ad28}" ma:internalName="TaxCatchAll" ma:readOnly="false" ma:showField="CatchAllData" ma:web="16c05727-aa75-4e4a-9b5f-8a80a116589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235FEF8-1733-4347-95CE-3BB62B2B8DD7}">
  <ds:schemaRefs>
    <ds:schemaRef ds:uri="230e9df3-be65-4c73-a93b-d1236ebd677e"/>
    <ds:schemaRef ds:uri="71af3243-3dd4-4a8d-8c0d-dd76da1f02a5"/>
    <ds:schemaRef ds:uri="http://schemas.microsoft.com/office/2006/metadata/properties"/>
    <ds:schemaRef ds:uri="http://schemas.microsoft.com/office/infopath/2007/PartnerControls"/>
    <ds:schemaRef ds:uri="http://schemas.microsoft.com/sharepoint/v3"/>
  </ds:schemaRefs>
</ds:datastoreItem>
</file>

<file path=customXml/itemProps2.xml><?xml version="1.0" encoding="utf-8"?>
<ds:datastoreItem xmlns:ds="http://schemas.openxmlformats.org/officeDocument/2006/customXml" ds:itemID="{69060146-7700-4F6C-986B-89E3839BD4ED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8FC98CF-E78A-425D-90FD-55D1C468A34F}">
  <ds:schemaRefs>
    <ds:schemaRef ds:uri="16c05727-aa75-4e4a-9b5f-8a80a1165891"/>
    <ds:schemaRef ds:uri="230e9df3-be65-4c73-a93b-d1236ebd677e"/>
    <ds:schemaRef ds:uri="71af3243-3dd4-4a8d-8c0d-dd76da1f02a5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2001/XMLSchema"/>
  </ds:schemaRefs>
</ds:datastoreItem>
</file>

<file path=docMetadata/LabelInfo.xml><?xml version="1.0" encoding="utf-8"?>
<clbl:labelList xmlns:clbl="http://schemas.microsoft.com/office/2020/mipLabelMetadata">
  <clbl:label id="{0d111c4b-49e3-4225-99d5-171502db0107}" enabled="1" method="Standard" siteId="{bcfa3e87-841e-48c7-983b-584159dd1a69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{2163F043-A191-44C6-AC4D-56DE1D6CE86B}tf78438558_win32</Template>
  <Application>Microsoft Office PowerPoint</Application>
  <PresentationFormat>Widescreen</PresentationFormat>
  <Slides>10</Slides>
  <Notes>0</Notes>
  <HiddenSlides>0</HiddenSlide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1" baseType="lpstr">
      <vt:lpstr>Office Theme</vt:lpstr>
      <vt:lpstr>Project 3 </vt:lpstr>
      <vt:lpstr>AGENDA</vt:lpstr>
      <vt:lpstr>SUMMARY </vt:lpstr>
      <vt:lpstr>Resources  </vt:lpstr>
      <vt:lpstr>Back end Process</vt:lpstr>
      <vt:lpstr>Front end Process</vt:lpstr>
      <vt:lpstr>Demo  Project 3 Website</vt:lpstr>
      <vt:lpstr>conclusions </vt:lpstr>
      <vt:lpstr>Conclusions continued </vt:lpstr>
      <vt:lpstr>Thank you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ject 3 </dc:title>
  <dc:subject/>
  <dc:creator>Carson, Nicholas</dc:creator>
  <cp:revision>2</cp:revision>
  <dcterms:created xsi:type="dcterms:W3CDTF">2024-01-20T15:34:42Z</dcterms:created>
  <dcterms:modified xsi:type="dcterms:W3CDTF">2024-01-23T01:49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9F111ED35F8CC479449609E8A0923A6</vt:lpwstr>
  </property>
  <property fmtid="{D5CDD505-2E9C-101B-9397-08002B2CF9AE}" pid="3" name="MediaServiceImageTags">
    <vt:lpwstr/>
  </property>
</Properties>
</file>